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32.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33.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tags/tag34.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5.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6.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7.xml" ContentType="application/vnd.openxmlformats-officedocument.presentationml.tags+xml"/>
  <Override PartName="/ppt/charts/chart19.xml" ContentType="application/vnd.openxmlformats-officedocument.drawingml.chart+xml"/>
  <Override PartName="/ppt/tags/tag38.xml" ContentType="application/vnd.openxmlformats-officedocument.presentationml.tags+xml"/>
  <Override PartName="/ppt/charts/chart20.xml" ContentType="application/vnd.openxmlformats-officedocument.drawingml.chart+xml"/>
  <Override PartName="/ppt/tags/tag39.xml" ContentType="application/vnd.openxmlformats-officedocument.presentationml.tags+xml"/>
  <Override PartName="/ppt/charts/chart21.xml" ContentType="application/vnd.openxmlformats-officedocument.drawingml.chart+xml"/>
  <Override PartName="/ppt/tags/tag40.xml" ContentType="application/vnd.openxmlformats-officedocument.presentationml.tags+xml"/>
  <Override PartName="/ppt/charts/chart22.xml" ContentType="application/vnd.openxmlformats-officedocument.drawingml.chart+xml"/>
  <Override PartName="/ppt/tags/tag41.xml" ContentType="application/vnd.openxmlformats-officedocument.presentationml.tags+xml"/>
  <Override PartName="/ppt/charts/chart23.xml" ContentType="application/vnd.openxmlformats-officedocument.drawingml.chart+xml"/>
  <Override PartName="/ppt/tags/tag42.xml" ContentType="application/vnd.openxmlformats-officedocument.presentationml.tags+xml"/>
  <Override PartName="/ppt/charts/chart24.xml" ContentType="application/vnd.openxmlformats-officedocument.drawingml.chart+xml"/>
  <Override PartName="/ppt/tags/tag43.xml" ContentType="application/vnd.openxmlformats-officedocument.presentationml.tags+xml"/>
  <Override PartName="/ppt/charts/chart25.xml" ContentType="application/vnd.openxmlformats-officedocument.drawingml.chart+xml"/>
  <Override PartName="/ppt/tags/tag44.xml" ContentType="application/vnd.openxmlformats-officedocument.presentationml.tags+xml"/>
  <Override PartName="/ppt/charts/chart26.xml" ContentType="application/vnd.openxmlformats-officedocument.drawingml.chart+xml"/>
  <Override PartName="/ppt/tags/tag45.xml" ContentType="application/vnd.openxmlformats-officedocument.presentationml.tags+xml"/>
  <Override PartName="/ppt/charts/chart27.xml" ContentType="application/vnd.openxmlformats-officedocument.drawingml.chart+xml"/>
  <Override PartName="/ppt/tags/tag46.xml" ContentType="application/vnd.openxmlformats-officedocument.presentationml.tags+xml"/>
  <Override PartName="/ppt/charts/chart28.xml" ContentType="application/vnd.openxmlformats-officedocument.drawingml.chart+xml"/>
  <Override PartName="/ppt/tags/tag47.xml" ContentType="application/vnd.openxmlformats-officedocument.presentationml.tags+xml"/>
  <Override PartName="/ppt/charts/chart29.xml" ContentType="application/vnd.openxmlformats-officedocument.drawingml.chart+xml"/>
  <Override PartName="/ppt/tags/tag48.xml" ContentType="application/vnd.openxmlformats-officedocument.presentationml.tags+xml"/>
  <Override PartName="/ppt/charts/chart30.xml" ContentType="application/vnd.openxmlformats-officedocument.drawingml.chart+xml"/>
  <Override PartName="/ppt/tags/tag49.xml" ContentType="application/vnd.openxmlformats-officedocument.presentationml.tags+xml"/>
  <Override PartName="/ppt/charts/chart31.xml" ContentType="application/vnd.openxmlformats-officedocument.drawingml.chart+xml"/>
  <Override PartName="/ppt/tags/tag50.xml" ContentType="application/vnd.openxmlformats-officedocument.presentationml.tags+xml"/>
  <Override PartName="/ppt/charts/chart32.xml" ContentType="application/vnd.openxmlformats-officedocument.drawingml.chart+xml"/>
  <Override PartName="/ppt/tags/tag51.xml" ContentType="application/vnd.openxmlformats-officedocument.presentationml.tags+xml"/>
  <Override PartName="/ppt/charts/chart33.xml" ContentType="application/vnd.openxmlformats-officedocument.drawingml.chart+xml"/>
  <Override PartName="/ppt/tags/tag52.xml" ContentType="application/vnd.openxmlformats-officedocument.presentationml.tags+xml"/>
  <Override PartName="/ppt/charts/chart34.xml" ContentType="application/vnd.openxmlformats-officedocument.drawingml.chart+xml"/>
  <Override PartName="/ppt/tags/tag53.xml" ContentType="application/vnd.openxmlformats-officedocument.presentationml.tags+xml"/>
  <Override PartName="/ppt/charts/chart35.xml" ContentType="application/vnd.openxmlformats-officedocument.drawingml.chart+xml"/>
  <Override PartName="/ppt/tags/tag54.xml" ContentType="application/vnd.openxmlformats-officedocument.presentationml.tags+xml"/>
  <Override PartName="/ppt/charts/chart36.xml" ContentType="application/vnd.openxmlformats-officedocument.drawingml.chart+xml"/>
  <Override PartName="/ppt/tags/tag55.xml" ContentType="application/vnd.openxmlformats-officedocument.presentationml.tags+xml"/>
  <Override PartName="/ppt/charts/chart37.xml" ContentType="application/vnd.openxmlformats-officedocument.drawingml.chart+xml"/>
  <Override PartName="/ppt/tags/tag56.xml" ContentType="application/vnd.openxmlformats-officedocument.presentationml.tags+xml"/>
  <Override PartName="/ppt/charts/chart38.xml" ContentType="application/vnd.openxmlformats-officedocument.drawingml.chart+xml"/>
  <Override PartName="/ppt/tags/tag57.xml" ContentType="application/vnd.openxmlformats-officedocument.presentationml.tags+xml"/>
  <Override PartName="/ppt/charts/chart39.xml" ContentType="application/vnd.openxmlformats-officedocument.drawingml.chart+xml"/>
  <Override PartName="/ppt/tags/tag58.xml" ContentType="application/vnd.openxmlformats-officedocument.presentationml.tags+xml"/>
  <Override PartName="/ppt/charts/chart40.xml" ContentType="application/vnd.openxmlformats-officedocument.drawingml.chart+xml"/>
  <Override PartName="/ppt/tags/tag59.xml" ContentType="application/vnd.openxmlformats-officedocument.presentationml.tags+xml"/>
  <Override PartName="/ppt/charts/chart41.xml" ContentType="application/vnd.openxmlformats-officedocument.drawingml.chart+xml"/>
  <Override PartName="/ppt/tags/tag60.xml" ContentType="application/vnd.openxmlformats-officedocument.presentationml.tags+xml"/>
  <Override PartName="/ppt/charts/chart42.xml" ContentType="application/vnd.openxmlformats-officedocument.drawingml.chart+xml"/>
  <Override PartName="/ppt/tags/tag61.xml" ContentType="application/vnd.openxmlformats-officedocument.presentationml.tags+xml"/>
  <Override PartName="/ppt/charts/chart43.xml" ContentType="application/vnd.openxmlformats-officedocument.drawingml.chart+xml"/>
  <Override PartName="/ppt/tags/tag62.xml" ContentType="application/vnd.openxmlformats-officedocument.presentationml.tags+xml"/>
  <Override PartName="/ppt/charts/chart44.xml" ContentType="application/vnd.openxmlformats-officedocument.drawingml.chart+xml"/>
  <Override PartName="/ppt/tags/tag63.xml" ContentType="application/vnd.openxmlformats-officedocument.presentationml.tags+xml"/>
  <Override PartName="/ppt/charts/chart45.xml" ContentType="application/vnd.openxmlformats-officedocument.drawingml.chart+xml"/>
  <Override PartName="/ppt/tags/tag64.xml" ContentType="application/vnd.openxmlformats-officedocument.presentationml.tags+xml"/>
  <Override PartName="/ppt/charts/chart46.xml" ContentType="application/vnd.openxmlformats-officedocument.drawingml.chart+xml"/>
  <Override PartName="/ppt/tags/tag65.xml" ContentType="application/vnd.openxmlformats-officedocument.presentationml.tags+xml"/>
  <Override PartName="/ppt/charts/chart47.xml" ContentType="application/vnd.openxmlformats-officedocument.drawingml.chart+xml"/>
  <Override PartName="/ppt/tags/tag66.xml" ContentType="application/vnd.openxmlformats-officedocument.presentationml.tags+xml"/>
  <Override PartName="/ppt/charts/chart48.xml" ContentType="application/vnd.openxmlformats-officedocument.drawingml.chart+xml"/>
  <Override PartName="/ppt/tags/tag67.xml" ContentType="application/vnd.openxmlformats-officedocument.presentationml.tags+xml"/>
  <Override PartName="/ppt/charts/chart49.xml" ContentType="application/vnd.openxmlformats-officedocument.drawingml.chart+xml"/>
  <Override PartName="/ppt/tags/tag68.xml" ContentType="application/vnd.openxmlformats-officedocument.presentationml.tags+xml"/>
  <Override PartName="/ppt/charts/chart50.xml" ContentType="application/vnd.openxmlformats-officedocument.drawingml.chart+xml"/>
  <Override PartName="/ppt/tags/tag69.xml" ContentType="application/vnd.openxmlformats-officedocument.presentationml.tags+xml"/>
  <Override PartName="/ppt/charts/chart51.xml" ContentType="application/vnd.openxmlformats-officedocument.drawingml.chart+xml"/>
  <Override PartName="/ppt/tags/tag70.xml" ContentType="application/vnd.openxmlformats-officedocument.presentationml.tags+xml"/>
  <Override PartName="/ppt/charts/chart52.xml" ContentType="application/vnd.openxmlformats-officedocument.drawingml.chart+xml"/>
  <Override PartName="/ppt/tags/tag71.xml" ContentType="application/vnd.openxmlformats-officedocument.presentationml.tags+xml"/>
  <Override PartName="/ppt/charts/chart53.xml" ContentType="application/vnd.openxmlformats-officedocument.drawingml.chart+xml"/>
  <Override PartName="/ppt/tags/tag72.xml" ContentType="application/vnd.openxmlformats-officedocument.presentationml.tags+xml"/>
  <Override PartName="/ppt/charts/chart54.xml" ContentType="application/vnd.openxmlformats-officedocument.drawingml.chart+xml"/>
  <Override PartName="/ppt/tags/tag73.xml" ContentType="application/vnd.openxmlformats-officedocument.presentationml.tags+xml"/>
  <Override PartName="/ppt/notesSlides/notesSlide1.xml" ContentType="application/vnd.openxmlformats-officedocument.presentationml.notesSlide+xml"/>
  <Override PartName="/ppt/tags/tag74.xml" ContentType="application/vnd.openxmlformats-officedocument.presentationml.tags+xml"/>
  <Override PartName="/ppt/notesSlides/notesSlide2.xml" ContentType="application/vnd.openxmlformats-officedocument.presentationml.notesSlide+xml"/>
  <Override PartName="/ppt/tags/tag75.xml" ContentType="application/vnd.openxmlformats-officedocument.presentationml.tags+xml"/>
  <Override PartName="/ppt/notesSlides/notesSlide3.xml" ContentType="application/vnd.openxmlformats-officedocument.presentationml.notesSlide+xml"/>
  <Override PartName="/ppt/tags/tag76.xml" ContentType="application/vnd.openxmlformats-officedocument.presentationml.tags+xml"/>
  <Override PartName="/ppt/notesSlides/notesSlide4.xml" ContentType="application/vnd.openxmlformats-officedocument.presentationml.notesSlide+xml"/>
  <Override PartName="/ppt/tags/tag77.xml" ContentType="application/vnd.openxmlformats-officedocument.presentationml.tags+xml"/>
  <Override PartName="/ppt/notesSlides/notesSlide5.xml" ContentType="application/vnd.openxmlformats-officedocument.presentationml.notesSlide+xml"/>
  <Override PartName="/ppt/tags/tag78.xml" ContentType="application/vnd.openxmlformats-officedocument.presentationml.tags+xml"/>
  <Override PartName="/ppt/notesSlides/notesSlide6.xml" ContentType="application/vnd.openxmlformats-officedocument.presentationml.notesSlide+xml"/>
  <Override PartName="/ppt/tags/tag79.xml" ContentType="application/vnd.openxmlformats-officedocument.presentationml.tags+xml"/>
  <Override PartName="/ppt/notesSlides/notesSlide7.xml" ContentType="application/vnd.openxmlformats-officedocument.presentationml.notesSlide+xml"/>
  <Override PartName="/ppt/tags/tag80.xml" ContentType="application/vnd.openxmlformats-officedocument.presentationml.tags+xml"/>
  <Override PartName="/ppt/notesSlides/notesSlide8.xml" ContentType="application/vnd.openxmlformats-officedocument.presentationml.notesSlide+xml"/>
  <Override PartName="/ppt/tags/tag81.xml" ContentType="application/vnd.openxmlformats-officedocument.presentationml.tags+xml"/>
  <Override PartName="/ppt/notesSlides/notesSlide9.xml" ContentType="application/vnd.openxmlformats-officedocument.presentationml.notesSlide+xml"/>
  <Override PartName="/ppt/tags/tag82.xml" ContentType="application/vnd.openxmlformats-officedocument.presentationml.tags+xml"/>
  <Override PartName="/ppt/notesSlides/notesSlide10.xml" ContentType="application/vnd.openxmlformats-officedocument.presentationml.notesSlide+xml"/>
  <Override PartName="/ppt/tags/tag83.xml" ContentType="application/vnd.openxmlformats-officedocument.presentationml.tags+xml"/>
  <Override PartName="/ppt/notesSlides/notesSlide11.xml" ContentType="application/vnd.openxmlformats-officedocument.presentationml.notesSlide+xml"/>
  <Override PartName="/ppt/tags/tag84.xml" ContentType="application/vnd.openxmlformats-officedocument.presentationml.tags+xml"/>
  <Override PartName="/ppt/notesSlides/notesSlide12.xml" ContentType="application/vnd.openxmlformats-officedocument.presentationml.notesSlide+xml"/>
  <Override PartName="/ppt/tags/tag85.xml" ContentType="application/vnd.openxmlformats-officedocument.presentationml.tags+xml"/>
  <Override PartName="/ppt/notesSlides/notesSlide13.xml" ContentType="application/vnd.openxmlformats-officedocument.presentationml.notesSlide+xml"/>
  <Override PartName="/ppt/charts/chart55.xml" ContentType="application/vnd.openxmlformats-officedocument.drawingml.chart+xml"/>
  <Override PartName="/ppt/charts/style1.xml" ContentType="application/vnd.ms-office.chartstyle+xml"/>
  <Override PartName="/ppt/charts/colors1.xml" ContentType="application/vnd.ms-office.chartcolorstyle+xml"/>
  <Override PartName="/ppt/tags/tag86.xml" ContentType="application/vnd.openxmlformats-officedocument.presentationml.tags+xml"/>
  <Override PartName="/ppt/notesSlides/notesSlide14.xml" ContentType="application/vnd.openxmlformats-officedocument.presentationml.notesSlide+xml"/>
  <Override PartName="/ppt/charts/chart56.xml" ContentType="application/vnd.openxmlformats-officedocument.drawingml.chart+xml"/>
  <Override PartName="/ppt/charts/style2.xml" ContentType="application/vnd.ms-office.chartstyle+xml"/>
  <Override PartName="/ppt/charts/colors2.xml" ContentType="application/vnd.ms-office.chartcolorstyle+xml"/>
  <Override PartName="/ppt/tags/tag87.xml" ContentType="application/vnd.openxmlformats-officedocument.presentationml.tags+xml"/>
  <Override PartName="/ppt/notesSlides/notesSlide15.xml" ContentType="application/vnd.openxmlformats-officedocument.presentationml.notesSlide+xml"/>
  <Override PartName="/ppt/charts/chart57.xml" ContentType="application/vnd.openxmlformats-officedocument.drawingml.chart+xml"/>
  <Override PartName="/ppt/charts/style3.xml" ContentType="application/vnd.ms-office.chartstyle+xml"/>
  <Override PartName="/ppt/charts/colors3.xml" ContentType="application/vnd.ms-office.chartcolorstyle+xml"/>
  <Override PartName="/ppt/tags/tag88.xml" ContentType="application/vnd.openxmlformats-officedocument.presentationml.tags+xml"/>
  <Override PartName="/ppt/notesSlides/notesSlide16.xml" ContentType="application/vnd.openxmlformats-officedocument.presentationml.notesSlide+xml"/>
  <Override PartName="/ppt/charts/chart58.xml" ContentType="application/vnd.openxmlformats-officedocument.drawingml.chart+xml"/>
  <Override PartName="/ppt/charts/style4.xml" ContentType="application/vnd.ms-office.chartstyle+xml"/>
  <Override PartName="/ppt/charts/colors4.xml" ContentType="application/vnd.ms-office.chartcolorstyle+xml"/>
  <Override PartName="/ppt/tags/tag89.xml" ContentType="application/vnd.openxmlformats-officedocument.presentationml.tags+xml"/>
  <Override PartName="/ppt/notesSlides/notesSlide17.xml" ContentType="application/vnd.openxmlformats-officedocument.presentationml.notesSlide+xml"/>
  <Override PartName="/ppt/charts/chart59.xml" ContentType="application/vnd.openxmlformats-officedocument.drawingml.chart+xml"/>
  <Override PartName="/ppt/charts/style5.xml" ContentType="application/vnd.ms-office.chartstyle+xml"/>
  <Override PartName="/ppt/charts/colors5.xml" ContentType="application/vnd.ms-office.chartcolorstyle+xml"/>
  <Override PartName="/ppt/tags/tag90.xml" ContentType="application/vnd.openxmlformats-officedocument.presentationml.tags+xml"/>
  <Override PartName="/ppt/notesSlides/notesSlide18.xml" ContentType="application/vnd.openxmlformats-officedocument.presentationml.notesSlide+xml"/>
  <Override PartName="/ppt/charts/chart60.xml" ContentType="application/vnd.openxmlformats-officedocument.drawingml.chart+xml"/>
  <Override PartName="/ppt/charts/style6.xml" ContentType="application/vnd.ms-office.chartstyle+xml"/>
  <Override PartName="/ppt/charts/colors6.xml" ContentType="application/vnd.ms-office.chartcolorstyle+xml"/>
  <Override PartName="/ppt/tags/tag91.xml" ContentType="application/vnd.openxmlformats-officedocument.presentationml.tags+xml"/>
  <Override PartName="/ppt/notesSlides/notesSlide19.xml" ContentType="application/vnd.openxmlformats-officedocument.presentationml.notesSlide+xml"/>
  <Override PartName="/ppt/charts/chart61.xml" ContentType="application/vnd.openxmlformats-officedocument.drawingml.chart+xml"/>
  <Override PartName="/ppt/charts/style7.xml" ContentType="application/vnd.ms-office.chartstyle+xml"/>
  <Override PartName="/ppt/charts/colors7.xml" ContentType="application/vnd.ms-office.chartcolorstyle+xml"/>
  <Override PartName="/ppt/tags/tag92.xml" ContentType="application/vnd.openxmlformats-officedocument.presentationml.tags+xml"/>
  <Override PartName="/ppt/notesSlides/notesSlide20.xml" ContentType="application/vnd.openxmlformats-officedocument.presentationml.notesSlide+xml"/>
  <Override PartName="/ppt/charts/chart62.xml" ContentType="application/vnd.openxmlformats-officedocument.drawingml.chart+xml"/>
  <Override PartName="/ppt/charts/style8.xml" ContentType="application/vnd.ms-office.chartstyle+xml"/>
  <Override PartName="/ppt/charts/colors8.xml" ContentType="application/vnd.ms-office.chartcolorstyle+xml"/>
  <Override PartName="/ppt/tags/tag93.xml" ContentType="application/vnd.openxmlformats-officedocument.presentationml.tags+xml"/>
  <Override PartName="/ppt/notesSlides/notesSlide21.xml" ContentType="application/vnd.openxmlformats-officedocument.presentationml.notesSlide+xml"/>
  <Override PartName="/ppt/charts/chart63.xml" ContentType="application/vnd.openxmlformats-officedocument.drawingml.chart+xml"/>
  <Override PartName="/ppt/charts/style9.xml" ContentType="application/vnd.ms-office.chartstyle+xml"/>
  <Override PartName="/ppt/charts/colors9.xml" ContentType="application/vnd.ms-office.chartcolorstyle+xml"/>
  <Override PartName="/ppt/tags/tag94.xml" ContentType="application/vnd.openxmlformats-officedocument.presentationml.tags+xml"/>
  <Override PartName="/ppt/notesSlides/notesSlide22.xml" ContentType="application/vnd.openxmlformats-officedocument.presentationml.notesSlide+xml"/>
  <Override PartName="/ppt/charts/chart64.xml" ContentType="application/vnd.openxmlformats-officedocument.drawingml.chart+xml"/>
  <Override PartName="/ppt/charts/style10.xml" ContentType="application/vnd.ms-office.chartstyle+xml"/>
  <Override PartName="/ppt/charts/colors10.xml" ContentType="application/vnd.ms-office.chartcolorstyle+xml"/>
  <Override PartName="/ppt/tags/tag95.xml" ContentType="application/vnd.openxmlformats-officedocument.presentationml.tags+xml"/>
  <Override PartName="/ppt/notesSlides/notesSlide23.xml" ContentType="application/vnd.openxmlformats-officedocument.presentationml.notesSlide+xml"/>
  <Override PartName="/ppt/charts/chart65.xml" ContentType="application/vnd.openxmlformats-officedocument.drawingml.chart+xml"/>
  <Override PartName="/ppt/charts/style11.xml" ContentType="application/vnd.ms-office.chartstyle+xml"/>
  <Override PartName="/ppt/charts/colors11.xml" ContentType="application/vnd.ms-office.chartcolorstyle+xml"/>
  <Override PartName="/ppt/tags/tag96.xml" ContentType="application/vnd.openxmlformats-officedocument.presentationml.tags+xml"/>
  <Override PartName="/ppt/notesSlides/notesSlide24.xml" ContentType="application/vnd.openxmlformats-officedocument.presentationml.notesSlide+xml"/>
  <Override PartName="/ppt/charts/chart66.xml" ContentType="application/vnd.openxmlformats-officedocument.drawingml.chart+xml"/>
  <Override PartName="/ppt/charts/style12.xml" ContentType="application/vnd.ms-office.chartstyle+xml"/>
  <Override PartName="/ppt/charts/colors12.xml" ContentType="application/vnd.ms-office.chartcolorstyle+xml"/>
  <Override PartName="/ppt/tags/tag97.xml" ContentType="application/vnd.openxmlformats-officedocument.presentationml.tags+xml"/>
  <Override PartName="/ppt/notesSlides/notesSlide25.xml" ContentType="application/vnd.openxmlformats-officedocument.presentationml.notesSlide+xml"/>
  <Override PartName="/ppt/charts/chart67.xml" ContentType="application/vnd.openxmlformats-officedocument.drawingml.chart+xml"/>
  <Override PartName="/ppt/charts/style13.xml" ContentType="application/vnd.ms-office.chartstyle+xml"/>
  <Override PartName="/ppt/charts/colors13.xml" ContentType="application/vnd.ms-office.chartcolorstyle+xml"/>
  <Override PartName="/ppt/tags/tag98.xml" ContentType="application/vnd.openxmlformats-officedocument.presentationml.tags+xml"/>
  <Override PartName="/ppt/notesSlides/notesSlide26.xml" ContentType="application/vnd.openxmlformats-officedocument.presentationml.notesSlide+xml"/>
  <Override PartName="/ppt/charts/chart68.xml" ContentType="application/vnd.openxmlformats-officedocument.drawingml.chart+xml"/>
  <Override PartName="/ppt/charts/style14.xml" ContentType="application/vnd.ms-office.chartstyle+xml"/>
  <Override PartName="/ppt/charts/colors14.xml" ContentType="application/vnd.ms-office.chartcolorstyle+xml"/>
  <Override PartName="/ppt/tags/tag99.xml" ContentType="application/vnd.openxmlformats-officedocument.presentationml.tags+xml"/>
  <Override PartName="/ppt/notesSlides/notesSlide27.xml" ContentType="application/vnd.openxmlformats-officedocument.presentationml.notesSlide+xml"/>
  <Override PartName="/ppt/charts/chart69.xml" ContentType="application/vnd.openxmlformats-officedocument.drawingml.chart+xml"/>
  <Override PartName="/ppt/charts/style15.xml" ContentType="application/vnd.ms-office.chartstyle+xml"/>
  <Override PartName="/ppt/charts/colors15.xml" ContentType="application/vnd.ms-office.chartcolorstyle+xml"/>
  <Override PartName="/ppt/tags/tag100.xml" ContentType="application/vnd.openxmlformats-officedocument.presentationml.tags+xml"/>
  <Override PartName="/ppt/notesSlides/notesSlide28.xml" ContentType="application/vnd.openxmlformats-officedocument.presentationml.notesSlide+xml"/>
  <Override PartName="/ppt/charts/chart70.xml" ContentType="application/vnd.openxmlformats-officedocument.drawingml.chart+xml"/>
  <Override PartName="/ppt/charts/style16.xml" ContentType="application/vnd.ms-office.chartstyle+xml"/>
  <Override PartName="/ppt/charts/colors16.xml" ContentType="application/vnd.ms-office.chartcolorstyle+xml"/>
  <Override PartName="/ppt/tags/tag101.xml" ContentType="application/vnd.openxmlformats-officedocument.presentationml.tags+xml"/>
  <Override PartName="/ppt/notesSlides/notesSlide29.xml" ContentType="application/vnd.openxmlformats-officedocument.presentationml.notesSlide+xml"/>
  <Override PartName="/ppt/charts/chart71.xml" ContentType="application/vnd.openxmlformats-officedocument.drawingml.chart+xml"/>
  <Override PartName="/ppt/charts/style17.xml" ContentType="application/vnd.ms-office.chartstyle+xml"/>
  <Override PartName="/ppt/charts/colors17.xml" ContentType="application/vnd.ms-office.chartcolorstyle+xml"/>
  <Override PartName="/ppt/tags/tag102.xml" ContentType="application/vnd.openxmlformats-officedocument.presentationml.tags+xml"/>
  <Override PartName="/ppt/notesSlides/notesSlide30.xml" ContentType="application/vnd.openxmlformats-officedocument.presentationml.notesSlide+xml"/>
  <Override PartName="/ppt/charts/chart72.xml" ContentType="application/vnd.openxmlformats-officedocument.drawingml.chart+xml"/>
  <Override PartName="/ppt/charts/style18.xml" ContentType="application/vnd.ms-office.chartstyle+xml"/>
  <Override PartName="/ppt/charts/colors18.xml" ContentType="application/vnd.ms-office.chartcolorstyle+xml"/>
  <Override PartName="/ppt/tags/tag103.xml" ContentType="application/vnd.openxmlformats-officedocument.presentationml.tags+xml"/>
  <Override PartName="/ppt/notesSlides/notesSlide31.xml" ContentType="application/vnd.openxmlformats-officedocument.presentationml.notesSlide+xml"/>
  <Override PartName="/ppt/charts/chart73.xml" ContentType="application/vnd.openxmlformats-officedocument.drawingml.chart+xml"/>
  <Override PartName="/ppt/charts/style19.xml" ContentType="application/vnd.ms-office.chartstyle+xml"/>
  <Override PartName="/ppt/charts/colors19.xml" ContentType="application/vnd.ms-office.chartcolorstyle+xml"/>
  <Override PartName="/ppt/tags/tag104.xml" ContentType="application/vnd.openxmlformats-officedocument.presentationml.tags+xml"/>
  <Override PartName="/ppt/notesSlides/notesSlide32.xml" ContentType="application/vnd.openxmlformats-officedocument.presentationml.notesSlide+xml"/>
  <Override PartName="/ppt/charts/chart74.xml" ContentType="application/vnd.openxmlformats-officedocument.drawingml.chart+xml"/>
  <Override PartName="/ppt/charts/style20.xml" ContentType="application/vnd.ms-office.chartstyle+xml"/>
  <Override PartName="/ppt/charts/colors20.xml" ContentType="application/vnd.ms-office.chartcolorstyle+xml"/>
  <Override PartName="/ppt/tags/tag105.xml" ContentType="application/vnd.openxmlformats-officedocument.presentationml.tags+xml"/>
  <Override PartName="/ppt/notesSlides/notesSlide33.xml" ContentType="application/vnd.openxmlformats-officedocument.presentationml.notesSlide+xml"/>
  <Override PartName="/ppt/charts/chart75.xml" ContentType="application/vnd.openxmlformats-officedocument.drawingml.chart+xml"/>
  <Override PartName="/ppt/charts/style21.xml" ContentType="application/vnd.ms-office.chartstyle+xml"/>
  <Override PartName="/ppt/charts/colors21.xml" ContentType="application/vnd.ms-office.chartcolorstyle+xml"/>
  <Override PartName="/ppt/tags/tag106.xml" ContentType="application/vnd.openxmlformats-officedocument.presentationml.tags+xml"/>
  <Override PartName="/ppt/notesSlides/notesSlide34.xml" ContentType="application/vnd.openxmlformats-officedocument.presentationml.notesSlide+xml"/>
  <Override PartName="/ppt/charts/chart76.xml" ContentType="application/vnd.openxmlformats-officedocument.drawingml.chart+xml"/>
  <Override PartName="/ppt/charts/style22.xml" ContentType="application/vnd.ms-office.chartstyle+xml"/>
  <Override PartName="/ppt/charts/colors22.xml" ContentType="application/vnd.ms-office.chartcolorstyle+xml"/>
  <Override PartName="/ppt/tags/tag107.xml" ContentType="application/vnd.openxmlformats-officedocument.presentationml.tags+xml"/>
  <Override PartName="/ppt/notesSlides/notesSlide35.xml" ContentType="application/vnd.openxmlformats-officedocument.presentationml.notesSlide+xml"/>
  <Override PartName="/ppt/charts/chart77.xml" ContentType="application/vnd.openxmlformats-officedocument.drawingml.chart+xml"/>
  <Override PartName="/ppt/charts/style23.xml" ContentType="application/vnd.ms-office.chartstyle+xml"/>
  <Override PartName="/ppt/charts/colors23.xml" ContentType="application/vnd.ms-office.chartcolorstyle+xml"/>
  <Override PartName="/ppt/tags/tag108.xml" ContentType="application/vnd.openxmlformats-officedocument.presentationml.tags+xml"/>
  <Override PartName="/ppt/notesSlides/notesSlide36.xml" ContentType="application/vnd.openxmlformats-officedocument.presentationml.notesSlide+xml"/>
  <Override PartName="/ppt/charts/chart78.xml" ContentType="application/vnd.openxmlformats-officedocument.drawingml.chart+xml"/>
  <Override PartName="/ppt/charts/style24.xml" ContentType="application/vnd.ms-office.chartstyle+xml"/>
  <Override PartName="/ppt/charts/colors24.xml" ContentType="application/vnd.ms-office.chartcolorstyle+xml"/>
  <Override PartName="/ppt/tags/tag109.xml" ContentType="application/vnd.openxmlformats-officedocument.presentationml.tags+xml"/>
  <Override PartName="/ppt/notesSlides/notesSlide37.xml" ContentType="application/vnd.openxmlformats-officedocument.presentationml.notesSlide+xml"/>
  <Override PartName="/ppt/charts/chart79.xml" ContentType="application/vnd.openxmlformats-officedocument.drawingml.chart+xml"/>
  <Override PartName="/ppt/charts/style25.xml" ContentType="application/vnd.ms-office.chartstyle+xml"/>
  <Override PartName="/ppt/charts/colors25.xml" ContentType="application/vnd.ms-office.chartcolorstyle+xml"/>
  <Override PartName="/ppt/tags/tag110.xml" ContentType="application/vnd.openxmlformats-officedocument.presentationml.tags+xml"/>
  <Override PartName="/ppt/notesSlides/notesSlide38.xml" ContentType="application/vnd.openxmlformats-officedocument.presentationml.notesSlide+xml"/>
  <Override PartName="/ppt/charts/chart80.xml" ContentType="application/vnd.openxmlformats-officedocument.drawingml.chart+xml"/>
  <Override PartName="/ppt/charts/style26.xml" ContentType="application/vnd.ms-office.chartstyle+xml"/>
  <Override PartName="/ppt/charts/colors26.xml" ContentType="application/vnd.ms-office.chartcolorstyle+xml"/>
  <Override PartName="/ppt/tags/tag111.xml" ContentType="application/vnd.openxmlformats-officedocument.presentationml.tags+xml"/>
  <Override PartName="/ppt/notesSlides/notesSlide39.xml" ContentType="application/vnd.openxmlformats-officedocument.presentationml.notesSlide+xml"/>
  <Override PartName="/ppt/charts/chart81.xml" ContentType="application/vnd.openxmlformats-officedocument.drawingml.chart+xml"/>
  <Override PartName="/ppt/charts/style27.xml" ContentType="application/vnd.ms-office.chartstyle+xml"/>
  <Override PartName="/ppt/charts/colors27.xml" ContentType="application/vnd.ms-office.chartcolorstyle+xml"/>
  <Override PartName="/ppt/tags/tag112.xml" ContentType="application/vnd.openxmlformats-officedocument.presentationml.tags+xml"/>
  <Override PartName="/ppt/notesSlides/notesSlide40.xml" ContentType="application/vnd.openxmlformats-officedocument.presentationml.notesSlide+xml"/>
  <Override PartName="/ppt/charts/chart82.xml" ContentType="application/vnd.openxmlformats-officedocument.drawingml.chart+xml"/>
  <Override PartName="/ppt/charts/style28.xml" ContentType="application/vnd.ms-office.chartstyle+xml"/>
  <Override PartName="/ppt/charts/colors28.xml" ContentType="application/vnd.ms-office.chartcolorstyle+xml"/>
  <Override PartName="/ppt/tags/tag113.xml" ContentType="application/vnd.openxmlformats-officedocument.presentationml.tags+xml"/>
  <Override PartName="/ppt/notesSlides/notesSlide41.xml" ContentType="application/vnd.openxmlformats-officedocument.presentationml.notesSlide+xml"/>
  <Override PartName="/ppt/charts/chart83.xml" ContentType="application/vnd.openxmlformats-officedocument.drawingml.chart+xml"/>
  <Override PartName="/ppt/charts/style29.xml" ContentType="application/vnd.ms-office.chartstyle+xml"/>
  <Override PartName="/ppt/charts/colors29.xml" ContentType="application/vnd.ms-office.chartcolorstyle+xml"/>
  <Override PartName="/ppt/tags/tag114.xml" ContentType="application/vnd.openxmlformats-officedocument.presentationml.tags+xml"/>
  <Override PartName="/ppt/notesSlides/notesSlide42.xml" ContentType="application/vnd.openxmlformats-officedocument.presentationml.notesSlide+xml"/>
  <Override PartName="/ppt/charts/chart84.xml" ContentType="application/vnd.openxmlformats-officedocument.drawingml.chart+xml"/>
  <Override PartName="/ppt/charts/style30.xml" ContentType="application/vnd.ms-office.chartstyle+xml"/>
  <Override PartName="/ppt/charts/colors30.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92"/>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Summary Category" id="{9A93F11F-E228-4121-8E16-51253E82C0F9}">
          <p14:sldIdLst>
            <p14:sldId id="2147477365"/>
            <p14:sldId id="2147477366"/>
            <p14:sldId id="2147477367"/>
          </p14:sldIdLst>
        </p14:section>
        <p14:section name="Price Positioning Summary Sector" id="{C2A0730A-7D98-4602-AE85-D0C022709B65}">
          <p14:sldIdLst>
            <p14:sldId id="2147477368"/>
            <p14:sldId id="2147477369"/>
            <p14:sldId id="2147477370"/>
          </p14:sldIdLst>
        </p14:section>
        <p14:section name="Price Positioning Summary Segment" id="{2961BEA4-8654-4EF6-A610-ADDBBB6BF5AD}">
          <p14:sldIdLst>
            <p14:sldId id="2147477371"/>
            <p14:sldId id="2147477372"/>
            <p14:sldId id="2147477373"/>
          </p14:sldIdLst>
        </p14:section>
        <p14:section name="Price Positioning Analysis By Brands" id="{858F7108-0D02-4CF2-A76B-62CF90B40D22}">
          <p14:sldIdLst>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Lst>
        </p14:section>
        <p14:section name="Price Positioning Analysis By Manufacturer" id="{9C0C0643-B7CA-456A-9CC3-A01481065608}">
          <p14:sldIdLst>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Lst>
        </p14:section>
        <p14:section name="Sectors Share and Growth By Brands" id="{13EBC8B7-FCE0-43BA-9158-97DC96133CFD}">
          <p14:sldIdLst>
            <p14:sldId id="2147477410"/>
            <p14:sldId id="2147477411"/>
            <p14:sldId id="2147477412"/>
          </p14:sldIdLst>
        </p14:section>
        <p14:section name="Segments Share and Growth By Brands" id="{E5DCB1C2-FA63-43DA-A9D6-4A9402934051}">
          <p14:sldIdLst>
            <p14:sldId id="2147477413"/>
            <p14:sldId id="2147477414"/>
            <p14:sldId id="2147477415"/>
          </p14:sldIdLst>
        </p14:section>
        <p14:section name="Sectors Share and Growth By Manufacturer" id="{5B7C280A-0E47-4D0B-8831-DAFC19D792C2}">
          <p14:sldIdLst>
            <p14:sldId id="2147477416"/>
            <p14:sldId id="2147477417"/>
            <p14:sldId id="2147477418"/>
          </p14:sldIdLst>
        </p14:section>
        <p14:section name="Segments Share and Growth By Manufacturer" id="{4DBCDAAC-B2B0-4BBD-A575-BA84E4E26B40}">
          <p14:sldIdLst>
            <p14:sldId id="2147477419"/>
            <p14:sldId id="2147477420"/>
            <p14:sldId id="2147477421"/>
          </p14:sldIdLst>
        </p14:section>
        <p14:section name="Sec/Seg Value Sales Vs Avg Price By Manufacturer" id="{F13B1415-665F-4829-95E2-95604C5BE512}">
          <p14:sldIdLst>
            <p14:sldId id="2147477422"/>
            <p14:sldId id="2147477423"/>
            <p14:sldId id="2147477424"/>
          </p14:sldIdLst>
        </p14:section>
        <p14:section name="Sec/Seg Value Sales Vs Avg Price" id="{77DD034B-2A37-41D1-91A7-DEBEFFAE8B6C}">
          <p14:sldIdLst>
            <p14:sldId id="2147477425"/>
            <p14:sldId id="2147477426"/>
            <p14:sldId id="2147477427"/>
            <p14:sldId id="2147477428"/>
            <p14:sldId id="2147477429"/>
            <p14:sldId id="2147477430"/>
            <p14:sldId id="2147477431"/>
            <p14:sldId id="2147477432"/>
            <p14:sldId id="2147477433"/>
          </p14:sldIdLst>
        </p14:section>
        <p14:section name="Sectors Value Sales Vs Avg Price" id="{B4C905CC-1138-4F8F-8CB7-971D1DC0C2C3}">
          <p14:sldIdLst>
            <p14:sldId id="2147477434"/>
            <p14:sldId id="2147477435"/>
            <p14:sldId id="2147477436"/>
            <p14:sldId id="2147477437"/>
            <p14:sldId id="2147477438"/>
            <p14:sldId id="2147477439"/>
            <p14:sldId id="2147477440"/>
            <p14:sldId id="2147477441"/>
            <p14:sldId id="2147477442"/>
          </p14:sldIdLst>
        </p14:section>
        <p14:section name="Segment Value Sales Vs Avg Price" id="{C600A215-328E-4000-B147-F557A335DAF4}">
          <p14:sldIdLst>
            <p14:sldId id="2147477443"/>
            <p14:sldId id="2147477444"/>
            <p14:sldId id="2147477445"/>
            <p14:sldId id="2147477446"/>
            <p14:sldId id="2147477447"/>
            <p14:sldId id="2147477448"/>
            <p14:sldId id="2147477449"/>
            <p14:sldId id="2147477450"/>
            <p14:sldId id="2147477451"/>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5" d="100"/>
          <a:sy n="85" d="100"/>
        </p:scale>
        <p:origin x="966" y="84"/>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theme" Target="theme/theme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1.xml"/><Relationship Id="rId1" Type="http://schemas.microsoft.com/office/2011/relationships/chartStyle" Target="style1.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2.xml"/><Relationship Id="rId1" Type="http://schemas.microsoft.com/office/2011/relationships/chartStyle" Target="style2.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3.xml"/><Relationship Id="rId1" Type="http://schemas.microsoft.com/office/2011/relationships/chartStyle" Target="style3.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4.xml"/><Relationship Id="rId1" Type="http://schemas.microsoft.com/office/2011/relationships/chartStyle" Target="style4.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xml"/><Relationship Id="rId1" Type="http://schemas.microsoft.com/office/2011/relationships/chartStyle" Target="style6.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7.xml"/><Relationship Id="rId1" Type="http://schemas.microsoft.com/office/2011/relationships/chartStyle" Target="style7.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8.xml"/><Relationship Id="rId1" Type="http://schemas.microsoft.com/office/2011/relationships/chartStyle" Target="style8.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9.xml"/><Relationship Id="rId1" Type="http://schemas.microsoft.com/office/2011/relationships/chartStyle" Target="style9.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10.xml"/><Relationship Id="rId1" Type="http://schemas.microsoft.com/office/2011/relationships/chartStyle" Target="style10.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11.xml"/><Relationship Id="rId1" Type="http://schemas.microsoft.com/office/2011/relationships/chartStyle" Target="style11.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12.xml"/><Relationship Id="rId1" Type="http://schemas.microsoft.com/office/2011/relationships/chartStyle" Target="style12.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13.xml"/><Relationship Id="rId1" Type="http://schemas.microsoft.com/office/2011/relationships/chartStyle" Target="style13.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14.xml"/><Relationship Id="rId1" Type="http://schemas.microsoft.com/office/2011/relationships/chartStyle" Target="style14.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15.xml"/><Relationship Id="rId1" Type="http://schemas.microsoft.com/office/2011/relationships/chartStyle" Target="style15.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16.xml"/><Relationship Id="rId1" Type="http://schemas.microsoft.com/office/2011/relationships/chartStyle" Target="style16.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17.xml"/><Relationship Id="rId1" Type="http://schemas.microsoft.com/office/2011/relationships/chartStyle" Target="style17.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18.xml"/><Relationship Id="rId1" Type="http://schemas.microsoft.com/office/2011/relationships/chartStyle" Target="style18.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19.xml"/><Relationship Id="rId1" Type="http://schemas.microsoft.com/office/2011/relationships/chartStyle" Target="style19.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20.xml"/><Relationship Id="rId1" Type="http://schemas.microsoft.com/office/2011/relationships/chartStyle" Target="style20.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21.xml"/><Relationship Id="rId1" Type="http://schemas.microsoft.com/office/2011/relationships/chartStyle" Target="style21.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22.xml"/><Relationship Id="rId1" Type="http://schemas.microsoft.com/office/2011/relationships/chartStyle" Target="style22.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23.xml"/><Relationship Id="rId1" Type="http://schemas.microsoft.com/office/2011/relationships/chartStyle" Target="style23.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24.xml"/><Relationship Id="rId1" Type="http://schemas.microsoft.com/office/2011/relationships/chartStyle" Target="style24.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25.xml"/><Relationship Id="rId1" Type="http://schemas.microsoft.com/office/2011/relationships/chartStyle" Target="style2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26.xml"/><Relationship Id="rId1" Type="http://schemas.microsoft.com/office/2011/relationships/chartStyle" Target="style26.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27.xml"/><Relationship Id="rId1" Type="http://schemas.microsoft.com/office/2011/relationships/chartStyle" Target="style27.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28.xml"/><Relationship Id="rId1" Type="http://schemas.microsoft.com/office/2011/relationships/chartStyle" Target="style28.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29.xml"/><Relationship Id="rId1" Type="http://schemas.microsoft.com/office/2011/relationships/chartStyle" Target="style29.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3.xlsx"/><Relationship Id="rId2" Type="http://schemas.microsoft.com/office/2011/relationships/chartColorStyle" Target="colors30.xml"/><Relationship Id="rId1" Type="http://schemas.microsoft.com/office/2011/relationships/chartStyle" Target="style30.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C60CAE5-9F17-4037-B82F-0A962E5787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0D0ABF-421F-463A-8E39-32D8DFEAE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C855B8-2694-4908-B7C2-151727FA42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BF8CDBD-90E4-4279-989D-3C4E13F233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0F92561-E9D3-4D1F-8054-6D2980BEE2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3E2CA3E-0619-4369-8C09-C14CE9CFD8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18D4BE1-855B-446C-BCE8-3B37553C2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8C7A01D-CC4D-48E3-B096-A6CC86EF81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432000000000001</c:v>
                </c:pt>
                <c:pt idx="1">
                  <c:v>2.2827999999999999</c:v>
                </c:pt>
                <c:pt idx="2">
                  <c:v>2.7054</c:v>
                </c:pt>
                <c:pt idx="3">
                  <c:v>2.8982999999999999</c:v>
                </c:pt>
                <c:pt idx="4">
                  <c:v>3.2122000000000002</c:v>
                </c:pt>
                <c:pt idx="5">
                  <c:v>3.2845</c:v>
                </c:pt>
                <c:pt idx="6">
                  <c:v>2.9792000000000001</c:v>
                </c:pt>
                <c:pt idx="7">
                  <c:v>2.4699</c:v>
                </c:pt>
              </c:numCache>
            </c:numRef>
          </c:xVal>
          <c:yVal>
            <c:numRef>
              <c:f>Sheet1!$B$2:$B$9</c:f>
              <c:numCache>
                <c:formatCode>General</c:formatCode>
                <c:ptCount val="8"/>
                <c:pt idx="0">
                  <c:v>0.84199999999999997</c:v>
                </c:pt>
                <c:pt idx="1">
                  <c:v>0.80500000000000005</c:v>
                </c:pt>
                <c:pt idx="2">
                  <c:v>1.0609999999999999</c:v>
                </c:pt>
                <c:pt idx="3">
                  <c:v>1.147</c:v>
                </c:pt>
                <c:pt idx="4">
                  <c:v>1.1639999999999999</c:v>
                </c:pt>
                <c:pt idx="5">
                  <c:v>0.90600000000000003</c:v>
                </c:pt>
                <c:pt idx="6">
                  <c:v>1.139</c:v>
                </c:pt>
                <c:pt idx="7">
                  <c:v>1.4830000000000001</c:v>
                </c:pt>
              </c:numCache>
            </c:numRef>
          </c:yVal>
          <c:bubbleSize>
            <c:numRef>
              <c:f>Sheet1!$C$2:$C$9</c:f>
              <c:numCache>
                <c:formatCode>General</c:formatCode>
                <c:ptCount val="8"/>
                <c:pt idx="0">
                  <c:v>1775606216</c:v>
                </c:pt>
                <c:pt idx="1">
                  <c:v>230947562</c:v>
                </c:pt>
                <c:pt idx="2">
                  <c:v>201056085</c:v>
                </c:pt>
                <c:pt idx="3">
                  <c:v>198815524</c:v>
                </c:pt>
                <c:pt idx="4">
                  <c:v>187705593</c:v>
                </c:pt>
                <c:pt idx="5">
                  <c:v>143118988</c:v>
                </c:pt>
                <c:pt idx="6">
                  <c:v>115028964</c:v>
                </c:pt>
                <c:pt idx="7">
                  <c:v>10037798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92E1753-09D0-469E-BB22-02892D735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8AAE16-AD81-4219-A2E5-D56DC0B5D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7B7554D-1ECD-4399-9743-96A19BCC1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E6F7D63-AA78-4585-A910-3A4B136D9E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2E96DB-7D50-4C65-8333-DCA22871B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D132502-09B1-40E2-B0B9-867D082B9C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F74BC62-605F-4EDE-909A-12B5FE625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7662BB9-43FA-4CD3-A64C-F653971F4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845</c:v>
                </c:pt>
                <c:pt idx="1">
                  <c:v>3.4908000000000001</c:v>
                </c:pt>
                <c:pt idx="2">
                  <c:v>3.0055999999999998</c:v>
                </c:pt>
                <c:pt idx="3">
                  <c:v>2.2181000000000002</c:v>
                </c:pt>
                <c:pt idx="4">
                  <c:v>2.7117</c:v>
                </c:pt>
                <c:pt idx="5">
                  <c:v>3.2094999999999998</c:v>
                </c:pt>
              </c:numCache>
            </c:numRef>
          </c:xVal>
          <c:yVal>
            <c:numRef>
              <c:f>Sheet1!$B$2:$B$7</c:f>
              <c:numCache>
                <c:formatCode>General</c:formatCode>
                <c:ptCount val="6"/>
                <c:pt idx="0">
                  <c:v>0.88900000000000001</c:v>
                </c:pt>
                <c:pt idx="1">
                  <c:v>1.431</c:v>
                </c:pt>
                <c:pt idx="2">
                  <c:v>1.1040000000000001</c:v>
                </c:pt>
                <c:pt idx="3">
                  <c:v>0.64400000000000002</c:v>
                </c:pt>
                <c:pt idx="4">
                  <c:v>1.952</c:v>
                </c:pt>
                <c:pt idx="5">
                  <c:v>1.4830000000000001</c:v>
                </c:pt>
              </c:numCache>
            </c:numRef>
          </c:yVal>
          <c:bubbleSize>
            <c:numRef>
              <c:f>Sheet1!$C$2:$C$7</c:f>
              <c:numCache>
                <c:formatCode>General</c:formatCode>
                <c:ptCount val="6"/>
                <c:pt idx="0">
                  <c:v>143118908</c:v>
                </c:pt>
                <c:pt idx="1">
                  <c:v>133719924</c:v>
                </c:pt>
                <c:pt idx="2">
                  <c:v>109186832</c:v>
                </c:pt>
                <c:pt idx="3">
                  <c:v>100313963</c:v>
                </c:pt>
                <c:pt idx="4">
                  <c:v>40963436</c:v>
                </c:pt>
                <c:pt idx="5">
                  <c:v>11176159</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2039E008-DA5B-4027-A64A-4734AA9F50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555CDC0-08FD-412D-AAAD-B0550CC2CF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4A0287C6-1573-49AA-A23A-805A02BFE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42183E17-8BE9-45A1-BB2E-47E997C9D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9947581-E412-4206-999F-2E1469F5B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D85439B4-19A0-4981-8FDC-8C009D7EF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1D297A37-E0E5-41A3-A460-EEB130F75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ACDAE401-408A-49DB-9910-547CF09D0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156</c:v>
                </c:pt>
                <c:pt idx="1">
                  <c:v>1.5004999999999999</c:v>
                </c:pt>
                <c:pt idx="2">
                  <c:v>2.4567999999999999</c:v>
                </c:pt>
                <c:pt idx="3">
                  <c:v>2.2768000000000002</c:v>
                </c:pt>
                <c:pt idx="4">
                  <c:v>2.3458000000000001</c:v>
                </c:pt>
                <c:pt idx="5">
                  <c:v>2.4558</c:v>
                </c:pt>
                <c:pt idx="6">
                  <c:v>2.5592999999999999</c:v>
                </c:pt>
                <c:pt idx="7">
                  <c:v>8.8888999999999996</c:v>
                </c:pt>
              </c:numCache>
            </c:numRef>
          </c:xVal>
          <c:yVal>
            <c:numRef>
              <c:f>Sheet1!$B$2:$B$9</c:f>
              <c:numCache>
                <c:formatCode>General</c:formatCode>
                <c:ptCount val="8"/>
                <c:pt idx="0">
                  <c:v>1.1499999999999999</c:v>
                </c:pt>
                <c:pt idx="1">
                  <c:v>0.68899999999999995</c:v>
                </c:pt>
                <c:pt idx="2">
                  <c:v>1.0349999999999999</c:v>
                </c:pt>
                <c:pt idx="3">
                  <c:v>1.1140000000000001</c:v>
                </c:pt>
                <c:pt idx="4">
                  <c:v>1.3320000000000001</c:v>
                </c:pt>
                <c:pt idx="5">
                  <c:v>1.099</c:v>
                </c:pt>
                <c:pt idx="6">
                  <c:v>1.5149999999999999</c:v>
                </c:pt>
                <c:pt idx="7">
                  <c:v>0.80100000000000005</c:v>
                </c:pt>
              </c:numCache>
            </c:numRef>
          </c:yVal>
          <c:bubbleSize>
            <c:numRef>
              <c:f>Sheet1!$C$2:$C$9</c:f>
              <c:numCache>
                <c:formatCode>General</c:formatCode>
                <c:ptCount val="8"/>
                <c:pt idx="0">
                  <c:v>188621011</c:v>
                </c:pt>
                <c:pt idx="1">
                  <c:v>139659774</c:v>
                </c:pt>
                <c:pt idx="2">
                  <c:v>89110867</c:v>
                </c:pt>
                <c:pt idx="3">
                  <c:v>74612015</c:v>
                </c:pt>
                <c:pt idx="4">
                  <c:v>69893459</c:v>
                </c:pt>
                <c:pt idx="5">
                  <c:v>40894571</c:v>
                </c:pt>
                <c:pt idx="6">
                  <c:v>5842132</c:v>
                </c:pt>
                <c:pt idx="7">
                  <c:v>80</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9A9C3500-2D1F-40B7-AE24-BF330B6932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0FBBBDEA-E079-4CCA-A281-1389E3E705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360483C6-C5E2-4E1A-804B-380A999CC1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156193A9-41D5-4B8C-BC2E-FF6470D71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D9C233C4-BF18-4330-847D-4E781396A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43889473-11F4-4412-B500-BB560C3B4D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F90B1AA0-07AB-4818-91CA-13B5E0BD79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CA007AA5-05BD-4D20-B381-455391870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124000000000001</c:v>
                </c:pt>
                <c:pt idx="1">
                  <c:v>2.2103999999999999</c:v>
                </c:pt>
                <c:pt idx="2">
                  <c:v>2.1956000000000002</c:v>
                </c:pt>
                <c:pt idx="3">
                  <c:v>2.9782000000000002</c:v>
                </c:pt>
                <c:pt idx="4">
                  <c:v>2.7964000000000002</c:v>
                </c:pt>
                <c:pt idx="5">
                  <c:v>2.2454000000000001</c:v>
                </c:pt>
              </c:numCache>
            </c:numRef>
          </c:xVal>
          <c:yVal>
            <c:numRef>
              <c:f>Sheet1!$B$2:$B$7</c:f>
              <c:numCache>
                <c:formatCode>General</c:formatCode>
                <c:ptCount val="6"/>
                <c:pt idx="0">
                  <c:v>0.91100000000000003</c:v>
                </c:pt>
                <c:pt idx="1">
                  <c:v>1.0169999999999999</c:v>
                </c:pt>
                <c:pt idx="2">
                  <c:v>1.163</c:v>
                </c:pt>
                <c:pt idx="3">
                  <c:v>1.099</c:v>
                </c:pt>
                <c:pt idx="4">
                  <c:v>1.5089999999999999</c:v>
                </c:pt>
                <c:pt idx="5">
                  <c:v>1.514</c:v>
                </c:pt>
              </c:numCache>
            </c:numRef>
          </c:yVal>
          <c:bubbleSize>
            <c:numRef>
              <c:f>Sheet1!$C$2:$C$7</c:f>
              <c:numCache>
                <c:formatCode>General</c:formatCode>
                <c:ptCount val="6"/>
                <c:pt idx="0">
                  <c:v>648086880</c:v>
                </c:pt>
                <c:pt idx="1">
                  <c:v>128025062</c:v>
                </c:pt>
                <c:pt idx="2">
                  <c:v>80048487</c:v>
                </c:pt>
                <c:pt idx="3">
                  <c:v>67882460</c:v>
                </c:pt>
                <c:pt idx="4">
                  <c:v>18235670</c:v>
                </c:pt>
                <c:pt idx="5">
                  <c:v>11870220</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390D159-648F-4AF1-8DC3-AFA1E10A0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A48BA32-1B3D-4DD7-A2BF-E8B39426A5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ACFDC09-3B53-4170-B278-D522AAADB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330EE1C-17DC-4464-9C1F-8899212B0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A46F24-9749-427E-ABA3-E8D3E8B4A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759D5D-5C01-409D-8569-4741BDA1A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273055C-5C98-4C4B-8564-C4B229EA0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1B9B115-C562-412C-8CB6-12C9B6312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692000000000001</c:v>
                </c:pt>
                <c:pt idx="1">
                  <c:v>3.4565000000000001</c:v>
                </c:pt>
                <c:pt idx="2">
                  <c:v>2.9908000000000001</c:v>
                </c:pt>
                <c:pt idx="3">
                  <c:v>2.3189000000000002</c:v>
                </c:pt>
                <c:pt idx="4">
                  <c:v>2.8247</c:v>
                </c:pt>
                <c:pt idx="5">
                  <c:v>3.0139</c:v>
                </c:pt>
              </c:numCache>
            </c:numRef>
          </c:xVal>
          <c:yVal>
            <c:numRef>
              <c:f>Sheet1!$B$2:$B$7</c:f>
              <c:numCache>
                <c:formatCode>General</c:formatCode>
                <c:ptCount val="6"/>
                <c:pt idx="0">
                  <c:v>0.81499999999999995</c:v>
                </c:pt>
                <c:pt idx="1">
                  <c:v>1.363</c:v>
                </c:pt>
                <c:pt idx="2">
                  <c:v>1.036</c:v>
                </c:pt>
                <c:pt idx="3">
                  <c:v>0.69099999999999995</c:v>
                </c:pt>
                <c:pt idx="4">
                  <c:v>2.008</c:v>
                </c:pt>
                <c:pt idx="5">
                  <c:v>1.6180000000000001</c:v>
                </c:pt>
              </c:numCache>
            </c:numRef>
          </c:yVal>
          <c:bubbleSize>
            <c:numRef>
              <c:f>Sheet1!$C$2:$C$7</c:f>
              <c:numCache>
                <c:formatCode>General</c:formatCode>
                <c:ptCount val="6"/>
                <c:pt idx="0">
                  <c:v>30468308</c:v>
                </c:pt>
                <c:pt idx="1">
                  <c:v>22613796</c:v>
                </c:pt>
                <c:pt idx="2">
                  <c:v>21233281</c:v>
                </c:pt>
                <c:pt idx="3">
                  <c:v>10731593</c:v>
                </c:pt>
                <c:pt idx="4">
                  <c:v>8292955</c:v>
                </c:pt>
                <c:pt idx="5">
                  <c:v>2020643</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79D7EB3-02C3-4480-9E24-7D336CDD9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26847CC-943D-41BD-92AB-456260C710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5F416E5-726F-40E6-B70E-5E1315C990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9D93C8E-3A0E-4B87-88DA-D5759E30FD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B604435C-9470-4C01-9B4D-88D6125BD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37222A3D-411A-45D3-B241-21452D7873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2BBEFEB8-29C0-48FC-ABA1-ECE36C0DC5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903E5CBB-FF86-41AF-AC98-421DF9EE6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3.0144000000000002</c:v>
                </c:pt>
                <c:pt idx="1">
                  <c:v>1.6611</c:v>
                </c:pt>
                <c:pt idx="2">
                  <c:v>2.5226999999999999</c:v>
                </c:pt>
                <c:pt idx="3">
                  <c:v>2.3923999999999999</c:v>
                </c:pt>
                <c:pt idx="4">
                  <c:v>2.4001999999999999</c:v>
                </c:pt>
                <c:pt idx="5">
                  <c:v>2.4596</c:v>
                </c:pt>
                <c:pt idx="6">
                  <c:v>2.6608000000000001</c:v>
                </c:pt>
                <c:pt idx="7">
                  <c:v>8.8888999999999996</c:v>
                </c:pt>
              </c:numCache>
            </c:numRef>
          </c:xVal>
          <c:yVal>
            <c:numRef>
              <c:f>Sheet1!$B$2:$B$9</c:f>
              <c:numCache>
                <c:formatCode>General</c:formatCode>
                <c:ptCount val="8"/>
                <c:pt idx="0">
                  <c:v>1.131</c:v>
                </c:pt>
                <c:pt idx="1">
                  <c:v>0.69099999999999995</c:v>
                </c:pt>
                <c:pt idx="2">
                  <c:v>0.98699999999999999</c:v>
                </c:pt>
                <c:pt idx="3">
                  <c:v>1.0880000000000001</c:v>
                </c:pt>
                <c:pt idx="4">
                  <c:v>1.2669999999999999</c:v>
                </c:pt>
                <c:pt idx="5">
                  <c:v>1.0169999999999999</c:v>
                </c:pt>
                <c:pt idx="6">
                  <c:v>1.4339999999999999</c:v>
                </c:pt>
                <c:pt idx="7">
                  <c:v>0.73599999999999999</c:v>
                </c:pt>
              </c:numCache>
            </c:numRef>
          </c:yVal>
          <c:bubbleSize>
            <c:numRef>
              <c:f>Sheet1!$C$2:$C$9</c:f>
              <c:numCache>
                <c:formatCode>General</c:formatCode>
                <c:ptCount val="8"/>
                <c:pt idx="0">
                  <c:v>30956719</c:v>
                </c:pt>
                <c:pt idx="1">
                  <c:v>16850297</c:v>
                </c:pt>
                <c:pt idx="2">
                  <c:v>16088426</c:v>
                </c:pt>
                <c:pt idx="3">
                  <c:v>12545434</c:v>
                </c:pt>
                <c:pt idx="4">
                  <c:v>12208672</c:v>
                </c:pt>
                <c:pt idx="5">
                  <c:v>8124232</c:v>
                </c:pt>
                <c:pt idx="6">
                  <c:v>1583106</c:v>
                </c:pt>
                <c:pt idx="7">
                  <c:v>80</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B0A82EF4-8E49-473B-B7A7-F448E27CDB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FE033A9-2B00-4080-BC25-923A371ED7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F4F943C1-DD7F-4ACA-BBE3-B6968E25E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AE7C1B88-62D2-42C3-A1C8-0A179110C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75DF2DB3-ABE7-4022-A81D-D922D9C927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5382B267-14D6-42D3-83F0-45B9EAFB9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67CF16CA-BE9D-4296-946B-846616DEB8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AAF7DC67-E62A-4376-A69E-F0A944067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006</c:v>
                </c:pt>
                <c:pt idx="1">
                  <c:v>2.1936</c:v>
                </c:pt>
                <c:pt idx="2">
                  <c:v>2.3405</c:v>
                </c:pt>
                <c:pt idx="3">
                  <c:v>3.0482</c:v>
                </c:pt>
                <c:pt idx="4">
                  <c:v>2.7654000000000001</c:v>
                </c:pt>
                <c:pt idx="5">
                  <c:v>2.2364000000000002</c:v>
                </c:pt>
              </c:numCache>
            </c:numRef>
          </c:xVal>
          <c:yVal>
            <c:numRef>
              <c:f>Sheet1!$B$2:$B$7</c:f>
              <c:numCache>
                <c:formatCode>General</c:formatCode>
                <c:ptCount val="6"/>
                <c:pt idx="0">
                  <c:v>0.91800000000000004</c:v>
                </c:pt>
                <c:pt idx="1">
                  <c:v>0.94699999999999995</c:v>
                </c:pt>
                <c:pt idx="2">
                  <c:v>1.149</c:v>
                </c:pt>
                <c:pt idx="3">
                  <c:v>1.032</c:v>
                </c:pt>
                <c:pt idx="4">
                  <c:v>1.3859999999999999</c:v>
                </c:pt>
                <c:pt idx="5">
                  <c:v>1.403</c:v>
                </c:pt>
              </c:numCache>
            </c:numRef>
          </c:yVal>
          <c:bubbleSize>
            <c:numRef>
              <c:f>Sheet1!$C$2:$C$7</c:f>
              <c:numCache>
                <c:formatCode>General</c:formatCode>
                <c:ptCount val="6"/>
                <c:pt idx="0">
                  <c:v>111360239</c:v>
                </c:pt>
                <c:pt idx="1">
                  <c:v>19606463</c:v>
                </c:pt>
                <c:pt idx="2">
                  <c:v>15221952</c:v>
                </c:pt>
                <c:pt idx="3">
                  <c:v>12937123</c:v>
                </c:pt>
                <c:pt idx="4">
                  <c:v>3699783</c:v>
                </c:pt>
                <c:pt idx="5">
                  <c:v>319682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8F0344-40A8-4DC3-8845-DB6C708227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47B4E65-C242-4D3B-9C2D-63441AC75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7DCA99-F838-4AAD-BCF7-DAE1E6316E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4A18B55-23BD-4FAA-A29B-639016CE4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65373D-4F47-43A0-AD8B-62B2B90817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9E7C8E0-CD48-4A62-8A8C-EB8D5009A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7FEB1E2-087D-459A-B4BF-FC554CD2F2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B71236C-7C0A-4E6F-912E-231DFA28BF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3645999999999998</c:v>
                </c:pt>
                <c:pt idx="1">
                  <c:v>3.5409000000000002</c:v>
                </c:pt>
                <c:pt idx="2">
                  <c:v>3.1012</c:v>
                </c:pt>
                <c:pt idx="3">
                  <c:v>2.0585</c:v>
                </c:pt>
                <c:pt idx="4">
                  <c:v>2.7042000000000002</c:v>
                </c:pt>
                <c:pt idx="5">
                  <c:v>3.6595</c:v>
                </c:pt>
              </c:numCache>
            </c:numRef>
          </c:xVal>
          <c:yVal>
            <c:numRef>
              <c:f>Sheet1!$B$2:$B$7</c:f>
              <c:numCache>
                <c:formatCode>General</c:formatCode>
                <c:ptCount val="6"/>
                <c:pt idx="0">
                  <c:v>0.86699999999999999</c:v>
                </c:pt>
                <c:pt idx="1">
                  <c:v>1.371</c:v>
                </c:pt>
                <c:pt idx="2">
                  <c:v>1.073</c:v>
                </c:pt>
                <c:pt idx="3">
                  <c:v>0.64100000000000001</c:v>
                </c:pt>
                <c:pt idx="4">
                  <c:v>1.871</c:v>
                </c:pt>
                <c:pt idx="5">
                  <c:v>1.278</c:v>
                </c:pt>
              </c:numCache>
            </c:numRef>
          </c:yVal>
          <c:bubbleSize>
            <c:numRef>
              <c:f>Sheet1!$C$2:$C$7</c:f>
              <c:numCache>
                <c:formatCode>General</c:formatCode>
                <c:ptCount val="6"/>
                <c:pt idx="0">
                  <c:v>22557022</c:v>
                </c:pt>
                <c:pt idx="1">
                  <c:v>19313906</c:v>
                </c:pt>
                <c:pt idx="2">
                  <c:v>16396938</c:v>
                </c:pt>
                <c:pt idx="3">
                  <c:v>10594194</c:v>
                </c:pt>
                <c:pt idx="4">
                  <c:v>5799659</c:v>
                </c:pt>
                <c:pt idx="5">
                  <c:v>1522946</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3416947-A77F-4742-8823-4CE3CCE19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B02A58A-12E4-42D6-AB91-AFF4A6272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801577F5-468A-43CA-A037-7F8BF752A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237E2E04-EA25-400B-8A2A-9DB301A3A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8C0DE58-F611-499E-8F54-50E5B134F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A8327908-56FD-4C3A-A88F-AB68B8FDF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FC5D364-8865-4063-9173-BB3CE1FA4B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259233E7-D55C-402D-889D-A625257951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500999999999999</c:v>
                </c:pt>
                <c:pt idx="1">
                  <c:v>1.4523999999999999</c:v>
                </c:pt>
                <c:pt idx="2">
                  <c:v>2.4236</c:v>
                </c:pt>
                <c:pt idx="3">
                  <c:v>2.4525000000000001</c:v>
                </c:pt>
                <c:pt idx="4">
                  <c:v>2.3136999999999999</c:v>
                </c:pt>
                <c:pt idx="5">
                  <c:v>2.4967000000000001</c:v>
                </c:pt>
                <c:pt idx="6">
                  <c:v>2.4449999999999998</c:v>
                </c:pt>
                <c:pt idx="7">
                  <c:v>2.4443000000000001</c:v>
                </c:pt>
              </c:numCache>
            </c:numRef>
          </c:xVal>
          <c:yVal>
            <c:numRef>
              <c:f>Sheet1!$B$2:$B$9</c:f>
              <c:numCache>
                <c:formatCode>General</c:formatCode>
                <c:ptCount val="8"/>
                <c:pt idx="0">
                  <c:v>1.081</c:v>
                </c:pt>
                <c:pt idx="1">
                  <c:v>0.67800000000000005</c:v>
                </c:pt>
                <c:pt idx="2">
                  <c:v>1.276</c:v>
                </c:pt>
                <c:pt idx="3">
                  <c:v>0.97599999999999998</c:v>
                </c:pt>
                <c:pt idx="4">
                  <c:v>1.087</c:v>
                </c:pt>
                <c:pt idx="5">
                  <c:v>1.0640000000000001</c:v>
                </c:pt>
                <c:pt idx="6">
                  <c:v>0.96699999999999997</c:v>
                </c:pt>
                <c:pt idx="7">
                  <c:v>1.5169999999999999</c:v>
                </c:pt>
              </c:numCache>
            </c:numRef>
          </c:yVal>
          <c:bubbleSize>
            <c:numRef>
              <c:f>Sheet1!$C$2:$C$9</c:f>
              <c:numCache>
                <c:formatCode>General</c:formatCode>
                <c:ptCount val="8"/>
                <c:pt idx="0">
                  <c:v>30253337</c:v>
                </c:pt>
                <c:pt idx="1">
                  <c:v>14481315</c:v>
                </c:pt>
                <c:pt idx="2">
                  <c:v>14007524</c:v>
                </c:pt>
                <c:pt idx="3">
                  <c:v>12109563</c:v>
                </c:pt>
                <c:pt idx="4">
                  <c:v>11825696</c:v>
                </c:pt>
                <c:pt idx="5">
                  <c:v>5828870</c:v>
                </c:pt>
                <c:pt idx="6">
                  <c:v>3949392</c:v>
                </c:pt>
                <c:pt idx="7">
                  <c:v>802773</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Boursin</c:v>
                  </c:pt>
                  <c:pt idx="3">
                    <c:v>Paysan Breton</c:v>
                  </c:pt>
                  <c:pt idx="4">
                    <c:v>Tartare</c:v>
                  </c:pt>
                  <c:pt idx="5">
                    <c:v>Carre Frais</c:v>
                  </c:pt>
                  <c:pt idx="6">
                    <c:v>Philadelphia</c:v>
                  </c:pt>
                  <c:pt idx="7">
                    <c:v>Kiri</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CD4DF6BA-6E46-4A76-BEAC-5802929CE6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9FE2340-0E92-4E3D-A894-A2BF59C48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6783D05F-3CD2-4F60-A881-18B54F48D5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22774EF0-5EB8-45B8-B195-3F6031BDE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EA14B520-4685-48C9-97D4-F3205171B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1D3AE622-EFC2-49A1-AB32-BC9C523D7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4A67B249-597D-4AC6-846A-CBD37E28C5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F72B96B5-E7E9-4097-B0A1-69CE62A35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8496999999999999</c:v>
                </c:pt>
                <c:pt idx="1">
                  <c:v>2.2946</c:v>
                </c:pt>
                <c:pt idx="2">
                  <c:v>2.9693999999999998</c:v>
                </c:pt>
                <c:pt idx="3">
                  <c:v>2.3797000000000001</c:v>
                </c:pt>
                <c:pt idx="4">
                  <c:v>2.8961999999999999</c:v>
                </c:pt>
                <c:pt idx="5">
                  <c:v>2.3374000000000001</c:v>
                </c:pt>
              </c:numCache>
            </c:numRef>
          </c:xVal>
          <c:yVal>
            <c:numRef>
              <c:f>Sheet1!$B$2:$B$7</c:f>
              <c:numCache>
                <c:formatCode>General</c:formatCode>
                <c:ptCount val="6"/>
                <c:pt idx="0">
                  <c:v>0.88700000000000001</c:v>
                </c:pt>
                <c:pt idx="1">
                  <c:v>1.0820000000000001</c:v>
                </c:pt>
                <c:pt idx="2">
                  <c:v>1.1160000000000001</c:v>
                </c:pt>
                <c:pt idx="3">
                  <c:v>1.236</c:v>
                </c:pt>
                <c:pt idx="4">
                  <c:v>1.621</c:v>
                </c:pt>
                <c:pt idx="5">
                  <c:v>1.6379999999999999</c:v>
                </c:pt>
              </c:numCache>
            </c:numRef>
          </c:yVal>
          <c:bubbleSize>
            <c:numRef>
              <c:f>Sheet1!$C$2:$C$7</c:f>
              <c:numCache>
                <c:formatCode>General</c:formatCode>
                <c:ptCount val="6"/>
                <c:pt idx="0">
                  <c:v>70217825</c:v>
                </c:pt>
                <c:pt idx="1">
                  <c:v>23364293</c:v>
                </c:pt>
                <c:pt idx="2">
                  <c:v>10441025</c:v>
                </c:pt>
                <c:pt idx="3">
                  <c:v>7314596</c:v>
                </c:pt>
                <c:pt idx="4">
                  <c:v>2904193</c:v>
                </c:pt>
                <c:pt idx="5">
                  <c:v>1794318</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Salakis</c:v>
                  </c:pt>
                  <c:pt idx="3">
                    <c:v>Casa Azzurra</c:v>
                  </c:pt>
                  <c:pt idx="4">
                    <c:v>Islos</c:v>
                  </c:pt>
                  <c:pt idx="5">
                    <c:v>Bours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8781E9-2EAE-4CCA-8E3F-9EEBD6E64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881C243-5F0A-4D6C-A630-D5BCBAA813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A77EDAE-2185-47BA-982D-E7E7E829C9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62B7234-7AA9-4157-9CBB-97AB5F4C3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B98B29-000A-4640-A346-B0F2D426C8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5D10224-755A-4114-B303-BAD9174584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8D2090A-7A2F-4D78-9ABB-82DD4211A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0F0987B-451B-440E-A618-A3D3FB553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432000000000001</c:v>
                </c:pt>
                <c:pt idx="1">
                  <c:v>2.2827999999999999</c:v>
                </c:pt>
                <c:pt idx="2">
                  <c:v>2.7054</c:v>
                </c:pt>
                <c:pt idx="3">
                  <c:v>2.8982999999999999</c:v>
                </c:pt>
                <c:pt idx="4">
                  <c:v>3.2122000000000002</c:v>
                </c:pt>
                <c:pt idx="5">
                  <c:v>3.2845</c:v>
                </c:pt>
                <c:pt idx="6">
                  <c:v>2.9792000000000001</c:v>
                </c:pt>
                <c:pt idx="7">
                  <c:v>2.4699</c:v>
                </c:pt>
              </c:numCache>
            </c:numRef>
          </c:xVal>
          <c:yVal>
            <c:numRef>
              <c:f>Sheet1!$B$2:$B$9</c:f>
              <c:numCache>
                <c:formatCode>General</c:formatCode>
                <c:ptCount val="8"/>
                <c:pt idx="0">
                  <c:v>0.84199999999999997</c:v>
                </c:pt>
                <c:pt idx="1">
                  <c:v>0.80500000000000005</c:v>
                </c:pt>
                <c:pt idx="2">
                  <c:v>1.0609999999999999</c:v>
                </c:pt>
                <c:pt idx="3">
                  <c:v>1.147</c:v>
                </c:pt>
                <c:pt idx="4">
                  <c:v>1.1639999999999999</c:v>
                </c:pt>
                <c:pt idx="5">
                  <c:v>0.90600000000000003</c:v>
                </c:pt>
                <c:pt idx="6">
                  <c:v>1.139</c:v>
                </c:pt>
                <c:pt idx="7">
                  <c:v>1.4830000000000001</c:v>
                </c:pt>
              </c:numCache>
            </c:numRef>
          </c:yVal>
          <c:bubbleSize>
            <c:numRef>
              <c:f>Sheet1!$C$2:$C$9</c:f>
              <c:numCache>
                <c:formatCode>General</c:formatCode>
                <c:ptCount val="8"/>
                <c:pt idx="0">
                  <c:v>1775606216</c:v>
                </c:pt>
                <c:pt idx="1">
                  <c:v>230947562</c:v>
                </c:pt>
                <c:pt idx="2">
                  <c:v>201056085</c:v>
                </c:pt>
                <c:pt idx="3">
                  <c:v>198815524</c:v>
                </c:pt>
                <c:pt idx="4">
                  <c:v>187705593</c:v>
                </c:pt>
                <c:pt idx="5">
                  <c:v>143118988</c:v>
                </c:pt>
                <c:pt idx="6">
                  <c:v>115028964</c:v>
                </c:pt>
                <c:pt idx="7">
                  <c:v>10037798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83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97C7D4-0103-4E46-8A65-267C6DA787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5AEA8C4-13C3-4C68-9609-66D698CF9C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A0756DE-FC02-48ED-96FD-D08FB6372A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F1D91A-106B-4583-B02B-D51BB2190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84273E3-0861-4544-98E4-04296FA95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9147C79-B70D-408C-924F-C09567908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2105C8C-0F3F-4D76-9C77-6FECD0917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7598F73-0B0D-467F-9632-2FE3415ED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008000000000001</c:v>
                </c:pt>
                <c:pt idx="1">
                  <c:v>2.3527999999999998</c:v>
                </c:pt>
                <c:pt idx="2">
                  <c:v>2.8315999999999999</c:v>
                </c:pt>
                <c:pt idx="3">
                  <c:v>3.2755999999999998</c:v>
                </c:pt>
                <c:pt idx="4">
                  <c:v>2.9988999999999999</c:v>
                </c:pt>
                <c:pt idx="5">
                  <c:v>3.2692000000000001</c:v>
                </c:pt>
                <c:pt idx="6">
                  <c:v>2.9653</c:v>
                </c:pt>
                <c:pt idx="7">
                  <c:v>2.5162</c:v>
                </c:pt>
              </c:numCache>
            </c:numRef>
          </c:xVal>
          <c:yVal>
            <c:numRef>
              <c:f>Sheet1!$B$2:$B$9</c:f>
              <c:numCache>
                <c:formatCode>General</c:formatCode>
                <c:ptCount val="8"/>
                <c:pt idx="0">
                  <c:v>0.871</c:v>
                </c:pt>
                <c:pt idx="1">
                  <c:v>0.76</c:v>
                </c:pt>
                <c:pt idx="2">
                  <c:v>1.03</c:v>
                </c:pt>
                <c:pt idx="3">
                  <c:v>1.123</c:v>
                </c:pt>
                <c:pt idx="4">
                  <c:v>1.133</c:v>
                </c:pt>
                <c:pt idx="5">
                  <c:v>0.78500000000000003</c:v>
                </c:pt>
                <c:pt idx="6">
                  <c:v>1.018</c:v>
                </c:pt>
                <c:pt idx="7">
                  <c:v>1.444</c:v>
                </c:pt>
              </c:numCache>
            </c:numRef>
          </c:yVal>
          <c:bubbleSize>
            <c:numRef>
              <c:f>Sheet1!$C$2:$C$9</c:f>
              <c:numCache>
                <c:formatCode>General</c:formatCode>
                <c:ptCount val="8"/>
                <c:pt idx="0">
                  <c:v>265528414</c:v>
                </c:pt>
                <c:pt idx="1">
                  <c:v>39509333</c:v>
                </c:pt>
                <c:pt idx="2">
                  <c:v>34413794</c:v>
                </c:pt>
                <c:pt idx="3">
                  <c:v>32529804</c:v>
                </c:pt>
                <c:pt idx="4">
                  <c:v>32178133</c:v>
                </c:pt>
                <c:pt idx="5">
                  <c:v>30468388</c:v>
                </c:pt>
                <c:pt idx="6">
                  <c:v>22816387</c:v>
                </c:pt>
                <c:pt idx="7">
                  <c:v>19199955</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Caprice Des Dieux</c:v>
                  </c:pt>
                  <c:pt idx="4">
                    <c:v>St Moret</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CECC70-C6B3-4F0E-9661-E86A346757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A22F1F-A97F-4DD6-BF4C-2FDF6167D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B698F7D-C10F-4288-BF69-E422CDAB1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626934-17A3-41FD-A437-0AAEA4471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083C9DD-09C8-4C98-84BA-F40541DF11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98AC915-1267-4A78-9936-E3156E9FF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DF70F8-6912-4CE8-A9BC-8E713DD5C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9188E1F-E274-45F2-B8D7-78AB9D8414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008000000000001</c:v>
                </c:pt>
                <c:pt idx="1">
                  <c:v>2.3527999999999998</c:v>
                </c:pt>
                <c:pt idx="2">
                  <c:v>2.8315999999999999</c:v>
                </c:pt>
                <c:pt idx="3">
                  <c:v>3.2755999999999998</c:v>
                </c:pt>
                <c:pt idx="4">
                  <c:v>2.9988999999999999</c:v>
                </c:pt>
                <c:pt idx="5">
                  <c:v>3.2692000000000001</c:v>
                </c:pt>
                <c:pt idx="6">
                  <c:v>2.9653</c:v>
                </c:pt>
                <c:pt idx="7">
                  <c:v>2.5162</c:v>
                </c:pt>
              </c:numCache>
            </c:numRef>
          </c:xVal>
          <c:yVal>
            <c:numRef>
              <c:f>Sheet1!$B$2:$B$9</c:f>
              <c:numCache>
                <c:formatCode>General</c:formatCode>
                <c:ptCount val="8"/>
                <c:pt idx="0">
                  <c:v>0.871</c:v>
                </c:pt>
                <c:pt idx="1">
                  <c:v>0.76</c:v>
                </c:pt>
                <c:pt idx="2">
                  <c:v>1.03</c:v>
                </c:pt>
                <c:pt idx="3">
                  <c:v>1.123</c:v>
                </c:pt>
                <c:pt idx="4">
                  <c:v>1.133</c:v>
                </c:pt>
                <c:pt idx="5">
                  <c:v>0.78500000000000003</c:v>
                </c:pt>
                <c:pt idx="6">
                  <c:v>1.018</c:v>
                </c:pt>
                <c:pt idx="7">
                  <c:v>1.444</c:v>
                </c:pt>
              </c:numCache>
            </c:numRef>
          </c:yVal>
          <c:bubbleSize>
            <c:numRef>
              <c:f>Sheet1!$C$2:$C$9</c:f>
              <c:numCache>
                <c:formatCode>General</c:formatCode>
                <c:ptCount val="8"/>
                <c:pt idx="0">
                  <c:v>265528414</c:v>
                </c:pt>
                <c:pt idx="1">
                  <c:v>39509333</c:v>
                </c:pt>
                <c:pt idx="2">
                  <c:v>34413794</c:v>
                </c:pt>
                <c:pt idx="3">
                  <c:v>32529804</c:v>
                </c:pt>
                <c:pt idx="4">
                  <c:v>32178133</c:v>
                </c:pt>
                <c:pt idx="5">
                  <c:v>30468388</c:v>
                </c:pt>
                <c:pt idx="6">
                  <c:v>22816387</c:v>
                </c:pt>
                <c:pt idx="7">
                  <c:v>19199955</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Caprice Des Dieux</c:v>
                  </c:pt>
                  <c:pt idx="4">
                    <c:v>St Moret</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4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83C097-52DD-4810-ACC4-9D482B8018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38876AB-141C-466C-88A7-EC30132E18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E831813-F31E-4796-A26E-5746183002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DCB86A-48C1-4BCE-A0A0-13BB7A8A7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DBBEEEA-306A-46C1-9F46-8B37017387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0201682-2600-4E58-9B95-81D2022A0E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50355A7-4B9A-4F0A-9E9B-ADD57F60BF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0D93E8-1A40-4E43-B74D-2A5E18B62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167999999999999</c:v>
                </c:pt>
                <c:pt idx="1">
                  <c:v>2.3565</c:v>
                </c:pt>
                <c:pt idx="2">
                  <c:v>2.7509000000000001</c:v>
                </c:pt>
                <c:pt idx="3">
                  <c:v>2.9201000000000001</c:v>
                </c:pt>
                <c:pt idx="4">
                  <c:v>3.3361999999999998</c:v>
                </c:pt>
                <c:pt idx="5">
                  <c:v>3.3645999999999998</c:v>
                </c:pt>
                <c:pt idx="6">
                  <c:v>2.5678999999999998</c:v>
                </c:pt>
                <c:pt idx="7">
                  <c:v>3.0628000000000002</c:v>
                </c:pt>
              </c:numCache>
            </c:numRef>
          </c:xVal>
          <c:yVal>
            <c:numRef>
              <c:f>Sheet1!$B$2:$B$9</c:f>
              <c:numCache>
                <c:formatCode>General</c:formatCode>
                <c:ptCount val="8"/>
                <c:pt idx="0">
                  <c:v>0.82099999999999995</c:v>
                </c:pt>
                <c:pt idx="1">
                  <c:v>0.81699999999999995</c:v>
                </c:pt>
                <c:pt idx="2">
                  <c:v>1.0569999999999999</c:v>
                </c:pt>
                <c:pt idx="3">
                  <c:v>1.1439999999999999</c:v>
                </c:pt>
                <c:pt idx="4">
                  <c:v>1.1879999999999999</c:v>
                </c:pt>
                <c:pt idx="5">
                  <c:v>0.93899999999999995</c:v>
                </c:pt>
                <c:pt idx="6">
                  <c:v>1.502</c:v>
                </c:pt>
                <c:pt idx="7">
                  <c:v>1.175</c:v>
                </c:pt>
              </c:numCache>
            </c:numRef>
          </c:yVal>
          <c:bubbleSize>
            <c:numRef>
              <c:f>Sheet1!$C$2:$C$9</c:f>
              <c:numCache>
                <c:formatCode>General</c:formatCode>
                <c:ptCount val="8"/>
                <c:pt idx="0">
                  <c:v>192818189</c:v>
                </c:pt>
                <c:pt idx="1">
                  <c:v>39277810</c:v>
                </c:pt>
                <c:pt idx="2">
                  <c:v>33117229</c:v>
                </c:pt>
                <c:pt idx="3">
                  <c:v>32921870</c:v>
                </c:pt>
                <c:pt idx="4">
                  <c:v>29411346</c:v>
                </c:pt>
                <c:pt idx="5">
                  <c:v>22557022</c:v>
                </c:pt>
                <c:pt idx="6">
                  <c:v>20077707</c:v>
                </c:pt>
                <c:pt idx="7">
                  <c:v>17199711</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La Vache Qui Rit</c:v>
                  </c:pt>
                  <c:pt idx="6">
                    <c:v>Boursin</c:v>
                  </c:pt>
                  <c:pt idx="7">
                    <c:v>Ki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8262673-DD3E-4483-A307-5C64035DF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9CF45A-0A78-4004-9117-A680251F1E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893D068-1D93-41F5-9626-F16DB9BABB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B1524B3-AB26-4CD5-8741-9FC244767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E5FE1C2-A614-4317-942C-B8CECE292C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D23A958-7496-49BD-8A0C-4E06812D0A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6FEAADE-9E7C-4434-8FA0-3DD919647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8071C23-0D41-4E49-9698-E25AB8F1B5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387</c:v>
                </c:pt>
                <c:pt idx="1">
                  <c:v>2.2827999999999999</c:v>
                </c:pt>
                <c:pt idx="2">
                  <c:v>2.7042000000000002</c:v>
                </c:pt>
                <c:pt idx="3">
                  <c:v>2.9156</c:v>
                </c:pt>
                <c:pt idx="4">
                  <c:v>3.2122000000000002</c:v>
                </c:pt>
                <c:pt idx="5">
                  <c:v>3.2845</c:v>
                </c:pt>
                <c:pt idx="6">
                  <c:v>2.9792000000000001</c:v>
                </c:pt>
                <c:pt idx="7">
                  <c:v>2.3307000000000002</c:v>
                </c:pt>
              </c:numCache>
            </c:numRef>
          </c:xVal>
          <c:yVal>
            <c:numRef>
              <c:f>Sheet1!$B$2:$B$9</c:f>
              <c:numCache>
                <c:formatCode>General</c:formatCode>
                <c:ptCount val="8"/>
                <c:pt idx="0">
                  <c:v>0.85499999999999998</c:v>
                </c:pt>
                <c:pt idx="1">
                  <c:v>0.82199999999999995</c:v>
                </c:pt>
                <c:pt idx="2">
                  <c:v>1.0820000000000001</c:v>
                </c:pt>
                <c:pt idx="3">
                  <c:v>1.1399999999999999</c:v>
                </c:pt>
                <c:pt idx="4">
                  <c:v>1.1879999999999999</c:v>
                </c:pt>
                <c:pt idx="5">
                  <c:v>0.92500000000000004</c:v>
                </c:pt>
                <c:pt idx="6">
                  <c:v>1.1619999999999999</c:v>
                </c:pt>
                <c:pt idx="7">
                  <c:v>1.3620000000000001</c:v>
                </c:pt>
              </c:numCache>
            </c:numRef>
          </c:yVal>
          <c:bubbleSize>
            <c:numRef>
              <c:f>Sheet1!$C$2:$C$9</c:f>
              <c:numCache>
                <c:formatCode>General</c:formatCode>
                <c:ptCount val="8"/>
                <c:pt idx="0">
                  <c:v>1760863092</c:v>
                </c:pt>
                <c:pt idx="1">
                  <c:v>230947562</c:v>
                </c:pt>
                <c:pt idx="2">
                  <c:v>200738299</c:v>
                </c:pt>
                <c:pt idx="3">
                  <c:v>188621011</c:v>
                </c:pt>
                <c:pt idx="4">
                  <c:v>187705593</c:v>
                </c:pt>
                <c:pt idx="5">
                  <c:v>143118988</c:v>
                </c:pt>
                <c:pt idx="6">
                  <c:v>115028964</c:v>
                </c:pt>
                <c:pt idx="7">
                  <c:v>81763679</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2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1B710A-1BF2-48AD-8AB2-FA4CF55DC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B93A80-973B-49EB-AD2C-0E85285C9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D9D532-D50E-4069-9F5D-8D088E4282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23B2713-D927-4DB7-878F-FFB1A54982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FB35CA9-A034-43EB-AD42-2AB2920FA5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4A4C0B-CDCC-4C02-8A50-63D886B50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B713B0-A004-4D83-9EA4-F0221CF39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F2BEC1D-8B22-49C7-9E89-DD690D43D5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59</c:v>
                </c:pt>
                <c:pt idx="1">
                  <c:v>2.3527999999999998</c:v>
                </c:pt>
                <c:pt idx="2">
                  <c:v>2.8315000000000001</c:v>
                </c:pt>
                <c:pt idx="3">
                  <c:v>3.2755999999999998</c:v>
                </c:pt>
                <c:pt idx="4">
                  <c:v>3.0144000000000002</c:v>
                </c:pt>
                <c:pt idx="5">
                  <c:v>3.2692000000000001</c:v>
                </c:pt>
                <c:pt idx="6">
                  <c:v>2.9653</c:v>
                </c:pt>
                <c:pt idx="7">
                  <c:v>2.3641999999999999</c:v>
                </c:pt>
              </c:numCache>
            </c:numRef>
          </c:xVal>
          <c:yVal>
            <c:numRef>
              <c:f>Sheet1!$B$2:$B$9</c:f>
              <c:numCache>
                <c:formatCode>General</c:formatCode>
                <c:ptCount val="8"/>
                <c:pt idx="0">
                  <c:v>0.88500000000000001</c:v>
                </c:pt>
                <c:pt idx="1">
                  <c:v>0.77700000000000002</c:v>
                </c:pt>
                <c:pt idx="2">
                  <c:v>1.0529999999999999</c:v>
                </c:pt>
                <c:pt idx="3">
                  <c:v>1.1479999999999999</c:v>
                </c:pt>
                <c:pt idx="4">
                  <c:v>1.137</c:v>
                </c:pt>
                <c:pt idx="5">
                  <c:v>0.80200000000000005</c:v>
                </c:pt>
                <c:pt idx="6">
                  <c:v>1.04</c:v>
                </c:pt>
                <c:pt idx="7">
                  <c:v>1.3220000000000001</c:v>
                </c:pt>
              </c:numCache>
            </c:numRef>
          </c:yVal>
          <c:bubbleSize>
            <c:numRef>
              <c:f>Sheet1!$C$2:$C$9</c:f>
              <c:numCache>
                <c:formatCode>General</c:formatCode>
                <c:ptCount val="8"/>
                <c:pt idx="0">
                  <c:v>263392264</c:v>
                </c:pt>
                <c:pt idx="1">
                  <c:v>39509333</c:v>
                </c:pt>
                <c:pt idx="2">
                  <c:v>34407631</c:v>
                </c:pt>
                <c:pt idx="3">
                  <c:v>32529804</c:v>
                </c:pt>
                <c:pt idx="4">
                  <c:v>30956719</c:v>
                </c:pt>
                <c:pt idx="5">
                  <c:v>30468388</c:v>
                </c:pt>
                <c:pt idx="6">
                  <c:v>22816387</c:v>
                </c:pt>
                <c:pt idx="7">
                  <c:v>15405497</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Caprice Des Dieux</c:v>
                  </c:pt>
                  <c:pt idx="4">
                    <c:v>St Moret</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4EEF8D-5977-418C-9C19-9308E9F80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18260A-9578-4467-8C6C-D6C21A27FE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506674-4405-44C6-82D3-FBA197B7E5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F8CB66-95D9-4A24-9840-20455CF9D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83E5F26-3314-455F-B2E6-D447BF144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43AE8C2-D504-46C2-B1B3-C9FA5C3FAE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2AAC4A7-1F04-426D-9682-A5643E6E30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036F67B-BFF5-40F1-B486-C0A1BC520C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106999999999999</c:v>
                </c:pt>
                <c:pt idx="1">
                  <c:v>2.3565</c:v>
                </c:pt>
                <c:pt idx="2">
                  <c:v>2.7509000000000001</c:v>
                </c:pt>
                <c:pt idx="3">
                  <c:v>2.9500999999999999</c:v>
                </c:pt>
                <c:pt idx="4">
                  <c:v>3.3361999999999998</c:v>
                </c:pt>
                <c:pt idx="5">
                  <c:v>3.3645999999999998</c:v>
                </c:pt>
                <c:pt idx="6">
                  <c:v>3.0628000000000002</c:v>
                </c:pt>
                <c:pt idx="7">
                  <c:v>2.4135</c:v>
                </c:pt>
              </c:numCache>
            </c:numRef>
          </c:xVal>
          <c:yVal>
            <c:numRef>
              <c:f>Sheet1!$B$2:$B$9</c:f>
              <c:numCache>
                <c:formatCode>General</c:formatCode>
                <c:ptCount val="8"/>
                <c:pt idx="0">
                  <c:v>0.83699999999999997</c:v>
                </c:pt>
                <c:pt idx="1">
                  <c:v>0.83899999999999997</c:v>
                </c:pt>
                <c:pt idx="2">
                  <c:v>1.0860000000000001</c:v>
                </c:pt>
                <c:pt idx="3">
                  <c:v>1.1259999999999999</c:v>
                </c:pt>
                <c:pt idx="4">
                  <c:v>1.2210000000000001</c:v>
                </c:pt>
                <c:pt idx="5">
                  <c:v>0.96499999999999997</c:v>
                </c:pt>
                <c:pt idx="6">
                  <c:v>1.2070000000000001</c:v>
                </c:pt>
                <c:pt idx="7">
                  <c:v>1.365</c:v>
                </c:pt>
              </c:numCache>
            </c:numRef>
          </c:yVal>
          <c:bubbleSize>
            <c:numRef>
              <c:f>Sheet1!$C$2:$C$9</c:f>
              <c:numCache>
                <c:formatCode>General</c:formatCode>
                <c:ptCount val="8"/>
                <c:pt idx="0">
                  <c:v>189926117</c:v>
                </c:pt>
                <c:pt idx="1">
                  <c:v>39277810</c:v>
                </c:pt>
                <c:pt idx="2">
                  <c:v>33117229</c:v>
                </c:pt>
                <c:pt idx="3">
                  <c:v>30253337</c:v>
                </c:pt>
                <c:pt idx="4">
                  <c:v>29411346</c:v>
                </c:pt>
                <c:pt idx="5">
                  <c:v>22557022</c:v>
                </c:pt>
                <c:pt idx="6">
                  <c:v>17199711</c:v>
                </c:pt>
                <c:pt idx="7">
                  <c:v>15801842</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A6CD18-51FF-4935-8B51-8A57A69F7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E53F47-690A-4663-9706-8AA88CAAEE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02D663-B4D7-4575-93D9-CE78F9D17E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1993033-31C1-4060-860E-314A4C19F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D8A4F3-6A5C-47E9-91B2-BD632C8F2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7FA64F4-A4EC-4C8B-A3D4-A723CE62B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A525FF8-7F6B-480C-9630-0F2CE14F2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9858136-65B8-4150-8FDE-91A0D95D7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6396999999999999</c:v>
                </c:pt>
                <c:pt idx="1">
                  <c:v>2.0247000000000002</c:v>
                </c:pt>
                <c:pt idx="2">
                  <c:v>3.3784000000000001</c:v>
                </c:pt>
                <c:pt idx="3">
                  <c:v>2.8138999999999998</c:v>
                </c:pt>
                <c:pt idx="4">
                  <c:v>2.6101999999999999</c:v>
                </c:pt>
                <c:pt idx="5">
                  <c:v>5.2855999999999996</c:v>
                </c:pt>
              </c:numCache>
            </c:numRef>
          </c:xVal>
          <c:yVal>
            <c:numRef>
              <c:f>Sheet1!$B$2:$B$7</c:f>
              <c:numCache>
                <c:formatCode>General</c:formatCode>
                <c:ptCount val="6"/>
                <c:pt idx="0">
                  <c:v>0.873</c:v>
                </c:pt>
                <c:pt idx="1">
                  <c:v>1.04</c:v>
                </c:pt>
                <c:pt idx="2">
                  <c:v>1.736</c:v>
                </c:pt>
                <c:pt idx="3">
                  <c:v>1.34</c:v>
                </c:pt>
                <c:pt idx="4">
                  <c:v>1.341</c:v>
                </c:pt>
                <c:pt idx="5">
                  <c:v>1.528</c:v>
                </c:pt>
              </c:numCache>
            </c:numRef>
          </c:yVal>
          <c:bubbleSize>
            <c:numRef>
              <c:f>Sheet1!$C$2:$C$7</c:f>
              <c:numCache>
                <c:formatCode>General</c:formatCode>
                <c:ptCount val="6"/>
                <c:pt idx="0">
                  <c:v>127145345</c:v>
                </c:pt>
                <c:pt idx="1">
                  <c:v>30565706</c:v>
                </c:pt>
                <c:pt idx="2">
                  <c:v>18356742</c:v>
                </c:pt>
                <c:pt idx="3">
                  <c:v>14160014</c:v>
                </c:pt>
                <c:pt idx="4">
                  <c:v>10194513</c:v>
                </c:pt>
                <c:pt idx="5">
                  <c:v>2156754</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3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583487-CB45-455D-9D8A-D98570BA93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3588B83-832A-45EA-9C98-0B3EDF389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498901-C61F-455A-A3B9-C65B5C395B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511C50-59CB-4C62-A082-45B4EF8B40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0E5F51-7C09-469F-BC3A-BECBDBB31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5FCE8EC-5D98-4AC0-859A-C2994E1F1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82C8634-05D4-4BFA-B912-259B9DEABD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0B3D8B4-046D-425A-8817-EA59C9DB7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7854999999999999</c:v>
                </c:pt>
                <c:pt idx="1">
                  <c:v>2.1145</c:v>
                </c:pt>
                <c:pt idx="2">
                  <c:v>3.4693000000000001</c:v>
                </c:pt>
                <c:pt idx="3">
                  <c:v>3.0528</c:v>
                </c:pt>
                <c:pt idx="4">
                  <c:v>2.6516999999999999</c:v>
                </c:pt>
                <c:pt idx="5">
                  <c:v>5.1757</c:v>
                </c:pt>
              </c:numCache>
            </c:numRef>
          </c:xVal>
          <c:yVal>
            <c:numRef>
              <c:f>Sheet1!$B$2:$B$7</c:f>
              <c:numCache>
                <c:formatCode>General</c:formatCode>
                <c:ptCount val="6"/>
                <c:pt idx="0">
                  <c:v>0.876</c:v>
                </c:pt>
                <c:pt idx="1">
                  <c:v>1.0249999999999999</c:v>
                </c:pt>
                <c:pt idx="2">
                  <c:v>1.6819999999999999</c:v>
                </c:pt>
                <c:pt idx="3">
                  <c:v>1.4810000000000001</c:v>
                </c:pt>
                <c:pt idx="4">
                  <c:v>1.2889999999999999</c:v>
                </c:pt>
                <c:pt idx="5">
                  <c:v>1.597</c:v>
                </c:pt>
              </c:numCache>
            </c:numRef>
          </c:yVal>
          <c:bubbleSize>
            <c:numRef>
              <c:f>Sheet1!$C$2:$C$7</c:f>
              <c:numCache>
                <c:formatCode>General</c:formatCode>
                <c:ptCount val="6"/>
                <c:pt idx="0">
                  <c:v>23637907</c:v>
                </c:pt>
                <c:pt idx="1">
                  <c:v>5715349</c:v>
                </c:pt>
                <c:pt idx="2">
                  <c:v>3679581</c:v>
                </c:pt>
                <c:pt idx="3">
                  <c:v>2136150</c:v>
                </c:pt>
                <c:pt idx="4">
                  <c:v>1221414</c:v>
                </c:pt>
                <c:pt idx="5">
                  <c:v>535470</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29FD8EA-02E9-4FCE-A97C-6A583C6E43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9E20A21-BE05-4E17-BDE7-733AFC7F4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FF92592-350D-47AF-8C38-68A79A359E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EC0F541-0182-472A-A5FC-BC04DCE39C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A5661F5-5819-4EAD-A439-F4AB68862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0618911-124F-46BF-BF91-614D706F12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A0F37B9-0AC7-45C6-9A7D-337BC5B74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84D4F17-CA62-4987-A189-016CBD335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7511000000000001</c:v>
                </c:pt>
                <c:pt idx="1">
                  <c:v>2.1533000000000002</c:v>
                </c:pt>
                <c:pt idx="2">
                  <c:v>3.3626999999999998</c:v>
                </c:pt>
                <c:pt idx="3">
                  <c:v>2.6185</c:v>
                </c:pt>
                <c:pt idx="4">
                  <c:v>2.5989</c:v>
                </c:pt>
                <c:pt idx="5">
                  <c:v>2.8252000000000002</c:v>
                </c:pt>
              </c:numCache>
            </c:numRef>
          </c:xVal>
          <c:yVal>
            <c:numRef>
              <c:f>Sheet1!$B$2:$B$7</c:f>
              <c:numCache>
                <c:formatCode>General</c:formatCode>
                <c:ptCount val="6"/>
                <c:pt idx="0">
                  <c:v>0.88700000000000001</c:v>
                </c:pt>
                <c:pt idx="1">
                  <c:v>1.1140000000000001</c:v>
                </c:pt>
                <c:pt idx="2">
                  <c:v>1.74</c:v>
                </c:pt>
                <c:pt idx="3">
                  <c:v>1.3560000000000001</c:v>
                </c:pt>
                <c:pt idx="4">
                  <c:v>1.0129999999999999</c:v>
                </c:pt>
                <c:pt idx="5">
                  <c:v>0.81599999999999995</c:v>
                </c:pt>
              </c:numCache>
            </c:numRef>
          </c:yVal>
          <c:bubbleSize>
            <c:numRef>
              <c:f>Sheet1!$C$2:$C$7</c:f>
              <c:numCache>
                <c:formatCode>General</c:formatCode>
                <c:ptCount val="6"/>
                <c:pt idx="0">
                  <c:v>23271110</c:v>
                </c:pt>
                <c:pt idx="1">
                  <c:v>4730575</c:v>
                </c:pt>
                <c:pt idx="2">
                  <c:v>4275865</c:v>
                </c:pt>
                <c:pt idx="3">
                  <c:v>2668533</c:v>
                </c:pt>
                <c:pt idx="4">
                  <c:v>2642649</c:v>
                </c:pt>
                <c:pt idx="5">
                  <c:v>473706</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St Moret</c:v>
                  </c:pt>
                  <c:pt idx="4">
                    <c:v>Private Label</c:v>
                  </c:pt>
                  <c:pt idx="5">
                    <c:v>Entremon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54F615-9C9C-4776-8AD5-FB92ABD97A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893D82-DA56-4C33-98B4-B171DBBE1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D4E235C-697E-4569-AADD-043E1565A0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6AE51EC-28A1-4D27-A541-6063FD8B80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3EA3889-E658-4229-AD36-BADFAA661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670A6A0-596E-4096-8DC9-0367E9AFC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AB3AFC3-7F09-46E2-8DE7-2D36FD40A1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E9F558B-63D8-487E-B854-B775DF565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845</c:v>
                </c:pt>
                <c:pt idx="1">
                  <c:v>3.4908000000000001</c:v>
                </c:pt>
                <c:pt idx="2">
                  <c:v>3.0055999999999998</c:v>
                </c:pt>
                <c:pt idx="3">
                  <c:v>2.2181000000000002</c:v>
                </c:pt>
                <c:pt idx="4">
                  <c:v>2.7117</c:v>
                </c:pt>
                <c:pt idx="5">
                  <c:v>3.2094999999999998</c:v>
                </c:pt>
              </c:numCache>
            </c:numRef>
          </c:xVal>
          <c:yVal>
            <c:numRef>
              <c:f>Sheet1!$B$2:$B$7</c:f>
              <c:numCache>
                <c:formatCode>General</c:formatCode>
                <c:ptCount val="6"/>
                <c:pt idx="0">
                  <c:v>0.88900000000000001</c:v>
                </c:pt>
                <c:pt idx="1">
                  <c:v>1.431</c:v>
                </c:pt>
                <c:pt idx="2">
                  <c:v>1.1040000000000001</c:v>
                </c:pt>
                <c:pt idx="3">
                  <c:v>0.64400000000000002</c:v>
                </c:pt>
                <c:pt idx="4">
                  <c:v>1.952</c:v>
                </c:pt>
                <c:pt idx="5">
                  <c:v>1.4830000000000001</c:v>
                </c:pt>
              </c:numCache>
            </c:numRef>
          </c:yVal>
          <c:bubbleSize>
            <c:numRef>
              <c:f>Sheet1!$C$2:$C$7</c:f>
              <c:numCache>
                <c:formatCode>General</c:formatCode>
                <c:ptCount val="6"/>
                <c:pt idx="0">
                  <c:v>143118908</c:v>
                </c:pt>
                <c:pt idx="1">
                  <c:v>133719924</c:v>
                </c:pt>
                <c:pt idx="2">
                  <c:v>109186832</c:v>
                </c:pt>
                <c:pt idx="3">
                  <c:v>100313963</c:v>
                </c:pt>
                <c:pt idx="4">
                  <c:v>40963436</c:v>
                </c:pt>
                <c:pt idx="5">
                  <c:v>11176159</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2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278427E-2DC8-4715-A151-C554921F24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51AB82-28A8-413A-AF3A-7139417C4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9168DF-2687-4457-A758-9830059AE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7EE6275-192B-44A1-8B7E-849267F1A3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D5697B9-0BB8-4714-9BB1-906E81D485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D2C130-31CF-4B35-A037-F5FA2944A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E3F96EF-E430-44AF-81D0-1F7F5CDBA7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8200956-D608-4BF7-9076-91163D31A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692000000000001</c:v>
                </c:pt>
                <c:pt idx="1">
                  <c:v>3.4565000000000001</c:v>
                </c:pt>
                <c:pt idx="2">
                  <c:v>2.9908000000000001</c:v>
                </c:pt>
                <c:pt idx="3">
                  <c:v>2.3189000000000002</c:v>
                </c:pt>
                <c:pt idx="4">
                  <c:v>2.8247</c:v>
                </c:pt>
                <c:pt idx="5">
                  <c:v>3.0139</c:v>
                </c:pt>
              </c:numCache>
            </c:numRef>
          </c:xVal>
          <c:yVal>
            <c:numRef>
              <c:f>Sheet1!$B$2:$B$7</c:f>
              <c:numCache>
                <c:formatCode>General</c:formatCode>
                <c:ptCount val="6"/>
                <c:pt idx="0">
                  <c:v>0.81499999999999995</c:v>
                </c:pt>
                <c:pt idx="1">
                  <c:v>1.363</c:v>
                </c:pt>
                <c:pt idx="2">
                  <c:v>1.036</c:v>
                </c:pt>
                <c:pt idx="3">
                  <c:v>0.69099999999999995</c:v>
                </c:pt>
                <c:pt idx="4">
                  <c:v>2.008</c:v>
                </c:pt>
                <c:pt idx="5">
                  <c:v>1.6180000000000001</c:v>
                </c:pt>
              </c:numCache>
            </c:numRef>
          </c:yVal>
          <c:bubbleSize>
            <c:numRef>
              <c:f>Sheet1!$C$2:$C$7</c:f>
              <c:numCache>
                <c:formatCode>General</c:formatCode>
                <c:ptCount val="6"/>
                <c:pt idx="0">
                  <c:v>30468308</c:v>
                </c:pt>
                <c:pt idx="1">
                  <c:v>22613796</c:v>
                </c:pt>
                <c:pt idx="2">
                  <c:v>21233281</c:v>
                </c:pt>
                <c:pt idx="3">
                  <c:v>10731593</c:v>
                </c:pt>
                <c:pt idx="4">
                  <c:v>8292955</c:v>
                </c:pt>
                <c:pt idx="5">
                  <c:v>2020643</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08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F7C1E7E-04B7-4344-90A4-D3F3F402A9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DB4A16B-0043-4F57-961C-ADBACF0A6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B3BBE3-1F71-40C0-853D-9B997D32C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1C50D0-0447-4A51-B5B9-01BF03F9E9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61C157A-177D-4AB0-9DB4-BB2A1CB03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F58BF88-6635-4E7C-8ED7-91B1CF6CF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B6BF766-5D95-4C51-850E-6827CE072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480A55F-E146-4C04-B866-D4340E1069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167999999999999</c:v>
                </c:pt>
                <c:pt idx="1">
                  <c:v>2.3565</c:v>
                </c:pt>
                <c:pt idx="2">
                  <c:v>2.7509000000000001</c:v>
                </c:pt>
                <c:pt idx="3">
                  <c:v>2.9201000000000001</c:v>
                </c:pt>
                <c:pt idx="4">
                  <c:v>3.3361999999999998</c:v>
                </c:pt>
                <c:pt idx="5">
                  <c:v>3.3645999999999998</c:v>
                </c:pt>
                <c:pt idx="6">
                  <c:v>2.5678999999999998</c:v>
                </c:pt>
                <c:pt idx="7">
                  <c:v>3.0628000000000002</c:v>
                </c:pt>
              </c:numCache>
            </c:numRef>
          </c:xVal>
          <c:yVal>
            <c:numRef>
              <c:f>Sheet1!$B$2:$B$9</c:f>
              <c:numCache>
                <c:formatCode>General</c:formatCode>
                <c:ptCount val="8"/>
                <c:pt idx="0">
                  <c:v>0.82099999999999995</c:v>
                </c:pt>
                <c:pt idx="1">
                  <c:v>0.81699999999999995</c:v>
                </c:pt>
                <c:pt idx="2">
                  <c:v>1.0569999999999999</c:v>
                </c:pt>
                <c:pt idx="3">
                  <c:v>1.1439999999999999</c:v>
                </c:pt>
                <c:pt idx="4">
                  <c:v>1.1879999999999999</c:v>
                </c:pt>
                <c:pt idx="5">
                  <c:v>0.93899999999999995</c:v>
                </c:pt>
                <c:pt idx="6">
                  <c:v>1.502</c:v>
                </c:pt>
                <c:pt idx="7">
                  <c:v>1.175</c:v>
                </c:pt>
              </c:numCache>
            </c:numRef>
          </c:yVal>
          <c:bubbleSize>
            <c:numRef>
              <c:f>Sheet1!$C$2:$C$9</c:f>
              <c:numCache>
                <c:formatCode>General</c:formatCode>
                <c:ptCount val="8"/>
                <c:pt idx="0">
                  <c:v>192818189</c:v>
                </c:pt>
                <c:pt idx="1">
                  <c:v>39277810</c:v>
                </c:pt>
                <c:pt idx="2">
                  <c:v>33117229</c:v>
                </c:pt>
                <c:pt idx="3">
                  <c:v>32921870</c:v>
                </c:pt>
                <c:pt idx="4">
                  <c:v>29411346</c:v>
                </c:pt>
                <c:pt idx="5">
                  <c:v>22557022</c:v>
                </c:pt>
                <c:pt idx="6">
                  <c:v>20077707</c:v>
                </c:pt>
                <c:pt idx="7">
                  <c:v>17199711</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La Vache Qui Rit</c:v>
                  </c:pt>
                  <c:pt idx="6">
                    <c:v>Boursin</c:v>
                  </c:pt>
                  <c:pt idx="7">
                    <c:v>Ki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550DC76-BDB9-4286-BC8F-8062AD36D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4B303A-BE59-4BD5-AC3D-B6D49F202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9D09823-F437-4B1B-A7EC-B93EB4B79B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A1D1DA5-66C2-4377-BA05-87487106B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EC75F8-2FB4-49FE-8075-6B4E88F27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9DC8E7F-635C-437F-BBBC-769C1D370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EBD4A66-C591-4C8B-9D99-3AB3563974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F46FF35-694A-4E6E-84FB-DF2D37431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3645999999999998</c:v>
                </c:pt>
                <c:pt idx="1">
                  <c:v>3.5409000000000002</c:v>
                </c:pt>
                <c:pt idx="2">
                  <c:v>3.1012</c:v>
                </c:pt>
                <c:pt idx="3">
                  <c:v>2.0585</c:v>
                </c:pt>
                <c:pt idx="4">
                  <c:v>2.7042000000000002</c:v>
                </c:pt>
                <c:pt idx="5">
                  <c:v>3.6595</c:v>
                </c:pt>
              </c:numCache>
            </c:numRef>
          </c:xVal>
          <c:yVal>
            <c:numRef>
              <c:f>Sheet1!$B$2:$B$7</c:f>
              <c:numCache>
                <c:formatCode>General</c:formatCode>
                <c:ptCount val="6"/>
                <c:pt idx="0">
                  <c:v>0.86699999999999999</c:v>
                </c:pt>
                <c:pt idx="1">
                  <c:v>1.371</c:v>
                </c:pt>
                <c:pt idx="2">
                  <c:v>1.073</c:v>
                </c:pt>
                <c:pt idx="3">
                  <c:v>0.64100000000000001</c:v>
                </c:pt>
                <c:pt idx="4">
                  <c:v>1.871</c:v>
                </c:pt>
                <c:pt idx="5">
                  <c:v>1.278</c:v>
                </c:pt>
              </c:numCache>
            </c:numRef>
          </c:yVal>
          <c:bubbleSize>
            <c:numRef>
              <c:f>Sheet1!$C$2:$C$7</c:f>
              <c:numCache>
                <c:formatCode>General</c:formatCode>
                <c:ptCount val="6"/>
                <c:pt idx="0">
                  <c:v>22557022</c:v>
                </c:pt>
                <c:pt idx="1">
                  <c:v>19313906</c:v>
                </c:pt>
                <c:pt idx="2">
                  <c:v>16396938</c:v>
                </c:pt>
                <c:pt idx="3">
                  <c:v>10594194</c:v>
                </c:pt>
                <c:pt idx="4">
                  <c:v>5799659</c:v>
                </c:pt>
                <c:pt idx="5">
                  <c:v>1522946</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71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17567D4-C97B-41D5-8D87-5D410AC88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4063E9-A9A8-42EF-AA73-54ABBDEAB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B00293-A2FF-452B-872D-9D155B879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0E06BD9-D67C-4B61-B977-54D454407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B09AB9-1BB5-422D-A75A-0D358AAF4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8C73DB8-B615-4A81-A76E-A29FBC0F6C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373888C-C7C7-49D4-881D-2336589C84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9710698-F747-4CA2-8A9F-CCD56A44E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156</c:v>
                </c:pt>
                <c:pt idx="1">
                  <c:v>1.5004999999999999</c:v>
                </c:pt>
                <c:pt idx="2">
                  <c:v>2.4567999999999999</c:v>
                </c:pt>
                <c:pt idx="3">
                  <c:v>2.2768000000000002</c:v>
                </c:pt>
                <c:pt idx="4">
                  <c:v>2.3458000000000001</c:v>
                </c:pt>
                <c:pt idx="5">
                  <c:v>2.4558</c:v>
                </c:pt>
                <c:pt idx="6">
                  <c:v>2.5592999999999999</c:v>
                </c:pt>
                <c:pt idx="7">
                  <c:v>8.8888999999999996</c:v>
                </c:pt>
              </c:numCache>
            </c:numRef>
          </c:xVal>
          <c:yVal>
            <c:numRef>
              <c:f>Sheet1!$B$2:$B$9</c:f>
              <c:numCache>
                <c:formatCode>General</c:formatCode>
                <c:ptCount val="8"/>
                <c:pt idx="0">
                  <c:v>1.1499999999999999</c:v>
                </c:pt>
                <c:pt idx="1">
                  <c:v>0.68899999999999995</c:v>
                </c:pt>
                <c:pt idx="2">
                  <c:v>1.0349999999999999</c:v>
                </c:pt>
                <c:pt idx="3">
                  <c:v>1.1140000000000001</c:v>
                </c:pt>
                <c:pt idx="4">
                  <c:v>1.3320000000000001</c:v>
                </c:pt>
                <c:pt idx="5">
                  <c:v>1.099</c:v>
                </c:pt>
                <c:pt idx="6">
                  <c:v>1.5149999999999999</c:v>
                </c:pt>
                <c:pt idx="7">
                  <c:v>0.80100000000000005</c:v>
                </c:pt>
              </c:numCache>
            </c:numRef>
          </c:yVal>
          <c:bubbleSize>
            <c:numRef>
              <c:f>Sheet1!$C$2:$C$9</c:f>
              <c:numCache>
                <c:formatCode>General</c:formatCode>
                <c:ptCount val="8"/>
                <c:pt idx="0">
                  <c:v>188621011</c:v>
                </c:pt>
                <c:pt idx="1">
                  <c:v>139659774</c:v>
                </c:pt>
                <c:pt idx="2">
                  <c:v>89110867</c:v>
                </c:pt>
                <c:pt idx="3">
                  <c:v>74612015</c:v>
                </c:pt>
                <c:pt idx="4">
                  <c:v>69893459</c:v>
                </c:pt>
                <c:pt idx="5">
                  <c:v>40894571</c:v>
                </c:pt>
                <c:pt idx="6">
                  <c:v>5842132</c:v>
                </c:pt>
                <c:pt idx="7">
                  <c:v>80</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2F71ABC-7BE4-4944-A6E8-FFA74F603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F7E1E0-4437-4400-8790-2507905539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8C91D4-A3FD-4DA0-A811-9B0200EC5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E810F38-EC14-4958-9E28-0E275C166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7FAA04E-1829-4CB9-8A1A-15D092DF3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6628B0-958F-4A6A-8A81-7DF0047AA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2FD5DB5-7E03-45CC-B456-168D95391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C2C0F66-EC57-434C-A1F9-BA01BDD57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3.0144000000000002</c:v>
                </c:pt>
                <c:pt idx="1">
                  <c:v>1.6611</c:v>
                </c:pt>
                <c:pt idx="2">
                  <c:v>2.5226999999999999</c:v>
                </c:pt>
                <c:pt idx="3">
                  <c:v>2.3923999999999999</c:v>
                </c:pt>
                <c:pt idx="4">
                  <c:v>2.4001999999999999</c:v>
                </c:pt>
                <c:pt idx="5">
                  <c:v>2.4596</c:v>
                </c:pt>
                <c:pt idx="6">
                  <c:v>2.6608000000000001</c:v>
                </c:pt>
                <c:pt idx="7">
                  <c:v>8.8888999999999996</c:v>
                </c:pt>
              </c:numCache>
            </c:numRef>
          </c:xVal>
          <c:yVal>
            <c:numRef>
              <c:f>Sheet1!$B$2:$B$9</c:f>
              <c:numCache>
                <c:formatCode>General</c:formatCode>
                <c:ptCount val="8"/>
                <c:pt idx="0">
                  <c:v>1.131</c:v>
                </c:pt>
                <c:pt idx="1">
                  <c:v>0.69099999999999995</c:v>
                </c:pt>
                <c:pt idx="2">
                  <c:v>0.98699999999999999</c:v>
                </c:pt>
                <c:pt idx="3">
                  <c:v>1.0880000000000001</c:v>
                </c:pt>
                <c:pt idx="4">
                  <c:v>1.2669999999999999</c:v>
                </c:pt>
                <c:pt idx="5">
                  <c:v>1.0169999999999999</c:v>
                </c:pt>
                <c:pt idx="6">
                  <c:v>1.4339999999999999</c:v>
                </c:pt>
                <c:pt idx="7">
                  <c:v>0.73599999999999999</c:v>
                </c:pt>
              </c:numCache>
            </c:numRef>
          </c:yVal>
          <c:bubbleSize>
            <c:numRef>
              <c:f>Sheet1!$C$2:$C$9</c:f>
              <c:numCache>
                <c:formatCode>General</c:formatCode>
                <c:ptCount val="8"/>
                <c:pt idx="0">
                  <c:v>30956719</c:v>
                </c:pt>
                <c:pt idx="1">
                  <c:v>16850297</c:v>
                </c:pt>
                <c:pt idx="2">
                  <c:v>16088426</c:v>
                </c:pt>
                <c:pt idx="3">
                  <c:v>12545434</c:v>
                </c:pt>
                <c:pt idx="4">
                  <c:v>12208672</c:v>
                </c:pt>
                <c:pt idx="5">
                  <c:v>8124232</c:v>
                </c:pt>
                <c:pt idx="6">
                  <c:v>1583106</c:v>
                </c:pt>
                <c:pt idx="7">
                  <c:v>80</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3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C1D692-010A-4496-BDE2-A228F2722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35F7DBA-AAD4-4545-94EA-49278D8A5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3EF17D-2A47-4367-B3E4-129C349C1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7B3FB6-C610-45FF-9327-93B932977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E24114-5347-4A19-AC6B-28A1905C32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B1A995-3257-4D53-B29A-90AA5C52B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A301C4D-79FA-4FD6-BFCC-27B00C1D2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02B869B-BA43-4F2B-A4F9-0B8D5FD3AC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500999999999999</c:v>
                </c:pt>
                <c:pt idx="1">
                  <c:v>1.4523999999999999</c:v>
                </c:pt>
                <c:pt idx="2">
                  <c:v>2.4236</c:v>
                </c:pt>
                <c:pt idx="3">
                  <c:v>2.4525000000000001</c:v>
                </c:pt>
                <c:pt idx="4">
                  <c:v>2.3136999999999999</c:v>
                </c:pt>
                <c:pt idx="5">
                  <c:v>2.4967000000000001</c:v>
                </c:pt>
                <c:pt idx="6">
                  <c:v>2.4449999999999998</c:v>
                </c:pt>
                <c:pt idx="7">
                  <c:v>2.4443000000000001</c:v>
                </c:pt>
              </c:numCache>
            </c:numRef>
          </c:xVal>
          <c:yVal>
            <c:numRef>
              <c:f>Sheet1!$B$2:$B$9</c:f>
              <c:numCache>
                <c:formatCode>General</c:formatCode>
                <c:ptCount val="8"/>
                <c:pt idx="0">
                  <c:v>1.081</c:v>
                </c:pt>
                <c:pt idx="1">
                  <c:v>0.67800000000000005</c:v>
                </c:pt>
                <c:pt idx="2">
                  <c:v>1.276</c:v>
                </c:pt>
                <c:pt idx="3">
                  <c:v>0.97599999999999998</c:v>
                </c:pt>
                <c:pt idx="4">
                  <c:v>1.087</c:v>
                </c:pt>
                <c:pt idx="5">
                  <c:v>1.0640000000000001</c:v>
                </c:pt>
                <c:pt idx="6">
                  <c:v>0.96699999999999997</c:v>
                </c:pt>
                <c:pt idx="7">
                  <c:v>1.5169999999999999</c:v>
                </c:pt>
              </c:numCache>
            </c:numRef>
          </c:yVal>
          <c:bubbleSize>
            <c:numRef>
              <c:f>Sheet1!$C$2:$C$9</c:f>
              <c:numCache>
                <c:formatCode>General</c:formatCode>
                <c:ptCount val="8"/>
                <c:pt idx="0">
                  <c:v>30253337</c:v>
                </c:pt>
                <c:pt idx="1">
                  <c:v>14481315</c:v>
                </c:pt>
                <c:pt idx="2">
                  <c:v>14007524</c:v>
                </c:pt>
                <c:pt idx="3">
                  <c:v>12109563</c:v>
                </c:pt>
                <c:pt idx="4">
                  <c:v>11825696</c:v>
                </c:pt>
                <c:pt idx="5">
                  <c:v>5828870</c:v>
                </c:pt>
                <c:pt idx="6">
                  <c:v>3949392</c:v>
                </c:pt>
                <c:pt idx="7">
                  <c:v>802773</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Boursin</c:v>
                  </c:pt>
                  <c:pt idx="3">
                    <c:v>Paysan Breton</c:v>
                  </c:pt>
                  <c:pt idx="4">
                    <c:v>Tartare</c:v>
                  </c:pt>
                  <c:pt idx="5">
                    <c:v>Carre Frais</c:v>
                  </c:pt>
                  <c:pt idx="6">
                    <c:v>Philadelphia</c:v>
                  </c:pt>
                  <c:pt idx="7">
                    <c:v>Ki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BDCA72-9588-4DF7-B807-C9BC7E260C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8642A7-52AF-4099-9DA2-EE9CDF45FF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6DE7F1-52F7-4AF3-888D-C69432479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584AC5-431E-4DF1-BC4B-3F81732570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B16AE7-056E-4498-B72C-C153C8F77B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836BFF9-E819-4515-A7E7-C4BE18F9B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4909DB7-470D-4D71-9E5D-DA0A9BF5A6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FDC67D7-BFFB-46E0-BDFB-57A7931FF6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124000000000001</c:v>
                </c:pt>
                <c:pt idx="1">
                  <c:v>2.2103999999999999</c:v>
                </c:pt>
                <c:pt idx="2">
                  <c:v>2.1956000000000002</c:v>
                </c:pt>
                <c:pt idx="3">
                  <c:v>2.9782000000000002</c:v>
                </c:pt>
                <c:pt idx="4">
                  <c:v>2.7964000000000002</c:v>
                </c:pt>
                <c:pt idx="5">
                  <c:v>2.2454000000000001</c:v>
                </c:pt>
              </c:numCache>
            </c:numRef>
          </c:xVal>
          <c:yVal>
            <c:numRef>
              <c:f>Sheet1!$B$2:$B$7</c:f>
              <c:numCache>
                <c:formatCode>General</c:formatCode>
                <c:ptCount val="6"/>
                <c:pt idx="0">
                  <c:v>0.91100000000000003</c:v>
                </c:pt>
                <c:pt idx="1">
                  <c:v>1.0169999999999999</c:v>
                </c:pt>
                <c:pt idx="2">
                  <c:v>1.163</c:v>
                </c:pt>
                <c:pt idx="3">
                  <c:v>1.099</c:v>
                </c:pt>
                <c:pt idx="4">
                  <c:v>1.5089999999999999</c:v>
                </c:pt>
                <c:pt idx="5">
                  <c:v>1.514</c:v>
                </c:pt>
              </c:numCache>
            </c:numRef>
          </c:yVal>
          <c:bubbleSize>
            <c:numRef>
              <c:f>Sheet1!$C$2:$C$7</c:f>
              <c:numCache>
                <c:formatCode>General</c:formatCode>
                <c:ptCount val="6"/>
                <c:pt idx="0">
                  <c:v>648086880</c:v>
                </c:pt>
                <c:pt idx="1">
                  <c:v>128025062</c:v>
                </c:pt>
                <c:pt idx="2">
                  <c:v>80048487</c:v>
                </c:pt>
                <c:pt idx="3">
                  <c:v>67882460</c:v>
                </c:pt>
                <c:pt idx="4">
                  <c:v>18235670</c:v>
                </c:pt>
                <c:pt idx="5">
                  <c:v>11870220</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CDC4F25-305D-404F-AD88-5E15D1A8E9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BF8716-5751-4395-B456-A09515BC9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CDFF33-C4DE-4395-BC20-1731F2CC89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6C9968B-1EC9-460E-9E1A-2B264CE2C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ABC3B40-BC8D-48CF-931E-9257DB45DC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D8302FF-0DE1-4331-8DB8-6DEF98D2D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9ECACAC-A5EE-4F7B-A484-2F7A729147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B5943E0-D69B-4644-B6E5-E2A9670264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006</c:v>
                </c:pt>
                <c:pt idx="1">
                  <c:v>2.1936</c:v>
                </c:pt>
                <c:pt idx="2">
                  <c:v>2.3405</c:v>
                </c:pt>
                <c:pt idx="3">
                  <c:v>3.0482</c:v>
                </c:pt>
                <c:pt idx="4">
                  <c:v>2.7654000000000001</c:v>
                </c:pt>
                <c:pt idx="5">
                  <c:v>2.2364000000000002</c:v>
                </c:pt>
              </c:numCache>
            </c:numRef>
          </c:xVal>
          <c:yVal>
            <c:numRef>
              <c:f>Sheet1!$B$2:$B$7</c:f>
              <c:numCache>
                <c:formatCode>General</c:formatCode>
                <c:ptCount val="6"/>
                <c:pt idx="0">
                  <c:v>0.91800000000000004</c:v>
                </c:pt>
                <c:pt idx="1">
                  <c:v>0.94699999999999995</c:v>
                </c:pt>
                <c:pt idx="2">
                  <c:v>1.149</c:v>
                </c:pt>
                <c:pt idx="3">
                  <c:v>1.032</c:v>
                </c:pt>
                <c:pt idx="4">
                  <c:v>1.3859999999999999</c:v>
                </c:pt>
                <c:pt idx="5">
                  <c:v>1.403</c:v>
                </c:pt>
              </c:numCache>
            </c:numRef>
          </c:yVal>
          <c:bubbleSize>
            <c:numRef>
              <c:f>Sheet1!$C$2:$C$7</c:f>
              <c:numCache>
                <c:formatCode>General</c:formatCode>
                <c:ptCount val="6"/>
                <c:pt idx="0">
                  <c:v>111360239</c:v>
                </c:pt>
                <c:pt idx="1">
                  <c:v>19606463</c:v>
                </c:pt>
                <c:pt idx="2">
                  <c:v>15221952</c:v>
                </c:pt>
                <c:pt idx="3">
                  <c:v>12937123</c:v>
                </c:pt>
                <c:pt idx="4">
                  <c:v>3699783</c:v>
                </c:pt>
                <c:pt idx="5">
                  <c:v>319682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F739E3E-D1C4-40F2-829E-53B73F0E0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A61C6C6-9A55-4662-9CF2-4063468465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16E3CA-8145-430B-B760-4347F0FF79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9EDAE10-90AB-4013-909D-9CAFD22E4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FF0E023-61BD-4F61-9CA1-4DE342235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991B006-D1F8-4B0A-A082-B40181D628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1704CD6-BFFE-40B3-8B4D-468D5928C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817F89B-5B40-457B-9486-66826F639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8496999999999999</c:v>
                </c:pt>
                <c:pt idx="1">
                  <c:v>2.2946</c:v>
                </c:pt>
                <c:pt idx="2">
                  <c:v>2.9693999999999998</c:v>
                </c:pt>
                <c:pt idx="3">
                  <c:v>2.3797000000000001</c:v>
                </c:pt>
                <c:pt idx="4">
                  <c:v>2.8961999999999999</c:v>
                </c:pt>
                <c:pt idx="5">
                  <c:v>2.3374000000000001</c:v>
                </c:pt>
              </c:numCache>
            </c:numRef>
          </c:xVal>
          <c:yVal>
            <c:numRef>
              <c:f>Sheet1!$B$2:$B$7</c:f>
              <c:numCache>
                <c:formatCode>General</c:formatCode>
                <c:ptCount val="6"/>
                <c:pt idx="0">
                  <c:v>0.88700000000000001</c:v>
                </c:pt>
                <c:pt idx="1">
                  <c:v>1.0820000000000001</c:v>
                </c:pt>
                <c:pt idx="2">
                  <c:v>1.1160000000000001</c:v>
                </c:pt>
                <c:pt idx="3">
                  <c:v>1.236</c:v>
                </c:pt>
                <c:pt idx="4">
                  <c:v>1.621</c:v>
                </c:pt>
                <c:pt idx="5">
                  <c:v>1.6379999999999999</c:v>
                </c:pt>
              </c:numCache>
            </c:numRef>
          </c:yVal>
          <c:bubbleSize>
            <c:numRef>
              <c:f>Sheet1!$C$2:$C$7</c:f>
              <c:numCache>
                <c:formatCode>General</c:formatCode>
                <c:ptCount val="6"/>
                <c:pt idx="0">
                  <c:v>70217825</c:v>
                </c:pt>
                <c:pt idx="1">
                  <c:v>23364293</c:v>
                </c:pt>
                <c:pt idx="2">
                  <c:v>10441025</c:v>
                </c:pt>
                <c:pt idx="3">
                  <c:v>7314596</c:v>
                </c:pt>
                <c:pt idx="4">
                  <c:v>2904193</c:v>
                </c:pt>
                <c:pt idx="5">
                  <c:v>1794318</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Salakis</c:v>
                  </c:pt>
                  <c:pt idx="3">
                    <c:v>Casa Azzurra</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3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C2276E-3CE8-4A68-9EB2-61F1C04F31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863C14F-A758-4D44-99E4-69D7DE7A69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0EF1B3-CA81-4696-8799-488324D0A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3B9DC1A-A8FB-4BDF-8720-D4DE0CB2B2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030A6C9-9469-48EF-86C0-BFC31B0E9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C4F81D-E68A-4958-B85C-E205CBD0A7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B6F4579-C5F3-4E30-97C1-34A8D989F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311445A-F754-4A34-A1E5-0EFBD99C7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0432000000000001</c:v>
                </c:pt>
                <c:pt idx="1">
                  <c:v>2.7240000000000002</c:v>
                </c:pt>
                <c:pt idx="2">
                  <c:v>3.1560000000000001</c:v>
                </c:pt>
                <c:pt idx="3">
                  <c:v>2.5087999999999999</c:v>
                </c:pt>
                <c:pt idx="4">
                  <c:v>2.7193000000000001</c:v>
                </c:pt>
                <c:pt idx="5">
                  <c:v>2.4735</c:v>
                </c:pt>
                <c:pt idx="6">
                  <c:v>2.2101999999999999</c:v>
                </c:pt>
              </c:numCache>
            </c:numRef>
          </c:xVal>
          <c:yVal>
            <c:numRef>
              <c:f>Sheet1!$B$2:$B$8</c:f>
              <c:numCache>
                <c:formatCode>General</c:formatCode>
                <c:ptCount val="7"/>
                <c:pt idx="0">
                  <c:v>0.84199999999999997</c:v>
                </c:pt>
                <c:pt idx="1">
                  <c:v>1.048</c:v>
                </c:pt>
                <c:pt idx="2">
                  <c:v>1.2310000000000001</c:v>
                </c:pt>
                <c:pt idx="3">
                  <c:v>1.0149999999999999</c:v>
                </c:pt>
                <c:pt idx="4">
                  <c:v>1.075</c:v>
                </c:pt>
                <c:pt idx="5">
                  <c:v>0.99399999999999999</c:v>
                </c:pt>
                <c:pt idx="6">
                  <c:v>1.2609999999999999</c:v>
                </c:pt>
              </c:numCache>
            </c:numRef>
          </c:yVal>
          <c:bubbleSize>
            <c:numRef>
              <c:f>Sheet1!$C$2:$C$8</c:f>
              <c:numCache>
                <c:formatCode>General</c:formatCode>
                <c:ptCount val="7"/>
                <c:pt idx="0">
                  <c:v>1775606216</c:v>
                </c:pt>
                <c:pt idx="1">
                  <c:v>825999056</c:v>
                </c:pt>
                <c:pt idx="2">
                  <c:v>623049606</c:v>
                </c:pt>
                <c:pt idx="3">
                  <c:v>570695753</c:v>
                </c:pt>
                <c:pt idx="4">
                  <c:v>209066327</c:v>
                </c:pt>
                <c:pt idx="5">
                  <c:v>91929908</c:v>
                </c:pt>
                <c:pt idx="6">
                  <c:v>81358477</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Bel</c:v>
                  </c:pt>
                  <c:pt idx="3">
                    <c:v>Lactalis</c:v>
                  </c:pt>
                  <c:pt idx="4">
                    <c:v>Eurial</c:v>
                  </c:pt>
                  <c:pt idx="5">
                    <c:v>Laita</c:v>
                  </c:pt>
                  <c:pt idx="6">
                    <c:v>Casa Azzurr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6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C21644-5F99-4110-8239-C138B41372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FDB29CC-79FC-481D-B15F-362B94EAD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BD0791-FA91-4364-82BE-E22CC5921C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C83CEE3-3CBF-4D61-B92F-48FBC91DC8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4B37EE8-6ED6-4810-AB7F-8CE119DB71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6CEC3E2-9290-45FE-9A55-91D4DDBFE9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577D088-4DAD-4BFF-940B-A3B90574EC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F143C0E-CC1F-4B3E-BFB2-6FB6FCB92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008000000000001</c:v>
                </c:pt>
                <c:pt idx="1">
                  <c:v>2.7873999999999999</c:v>
                </c:pt>
                <c:pt idx="2">
                  <c:v>3.1682999999999999</c:v>
                </c:pt>
                <c:pt idx="3">
                  <c:v>2.5594999999999999</c:v>
                </c:pt>
                <c:pt idx="4">
                  <c:v>2.8401000000000001</c:v>
                </c:pt>
                <c:pt idx="5">
                  <c:v>2.5825999999999998</c:v>
                </c:pt>
                <c:pt idx="6">
                  <c:v>2.3689</c:v>
                </c:pt>
                <c:pt idx="7">
                  <c:v>2.8247</c:v>
                </c:pt>
              </c:numCache>
            </c:numRef>
          </c:xVal>
          <c:yVal>
            <c:numRef>
              <c:f>Sheet1!$B$2:$B$9</c:f>
              <c:numCache>
                <c:formatCode>General</c:formatCode>
                <c:ptCount val="8"/>
                <c:pt idx="0">
                  <c:v>0.871</c:v>
                </c:pt>
                <c:pt idx="1">
                  <c:v>1.016</c:v>
                </c:pt>
                <c:pt idx="2">
                  <c:v>1.103</c:v>
                </c:pt>
                <c:pt idx="3">
                  <c:v>0.95199999999999996</c:v>
                </c:pt>
                <c:pt idx="4">
                  <c:v>1.0449999999999999</c:v>
                </c:pt>
                <c:pt idx="5">
                  <c:v>0.94099999999999995</c:v>
                </c:pt>
                <c:pt idx="6">
                  <c:v>1.248</c:v>
                </c:pt>
                <c:pt idx="7">
                  <c:v>1.9330000000000001</c:v>
                </c:pt>
              </c:numCache>
            </c:numRef>
          </c:yVal>
          <c:bubbleSize>
            <c:numRef>
              <c:f>Sheet1!$C$2:$C$9</c:f>
              <c:numCache>
                <c:formatCode>General</c:formatCode>
                <c:ptCount val="8"/>
                <c:pt idx="0">
                  <c:v>265528414</c:v>
                </c:pt>
                <c:pt idx="1">
                  <c:v>145852763</c:v>
                </c:pt>
                <c:pt idx="2">
                  <c:v>119646891</c:v>
                </c:pt>
                <c:pt idx="3">
                  <c:v>96988233</c:v>
                </c:pt>
                <c:pt idx="4">
                  <c:v>35536817</c:v>
                </c:pt>
                <c:pt idx="5">
                  <c:v>17030223</c:v>
                </c:pt>
                <c:pt idx="6">
                  <c:v>15744363</c:v>
                </c:pt>
                <c:pt idx="7">
                  <c:v>8292955</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Bel</c:v>
                  </c:pt>
                  <c:pt idx="3">
                    <c:v>Lactalis</c:v>
                  </c:pt>
                  <c:pt idx="4">
                    <c:v>Eurial</c:v>
                  </c:pt>
                  <c:pt idx="5">
                    <c:v>Laita</c:v>
                  </c:pt>
                  <c:pt idx="6">
                    <c:v>Casa Azzurra</c:v>
                  </c:pt>
                  <c:pt idx="7">
                    <c:v>Ker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3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68C672C-9F7D-47F6-B94E-882BD64D5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6503A3-9FF3-41D1-A322-3838FD39F4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DCB19D-122B-41F5-AB48-608B2B76EA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631AD5-0A0D-4053-B70A-C76242A647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DD6BF4B-3C5B-4819-903C-E145FB6596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6F999B5-652D-4EF3-8346-8810EB187E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04B4A17-FC8D-4277-85D7-F4434D3181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219972A-6B7A-4C30-BB6B-FD90063B6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0167999999999999</c:v>
                </c:pt>
                <c:pt idx="1">
                  <c:v>2.7863000000000002</c:v>
                </c:pt>
                <c:pt idx="2">
                  <c:v>3.2185000000000001</c:v>
                </c:pt>
                <c:pt idx="3">
                  <c:v>2.5489000000000002</c:v>
                </c:pt>
                <c:pt idx="4">
                  <c:v>2.7532000000000001</c:v>
                </c:pt>
                <c:pt idx="5">
                  <c:v>2.4512999999999998</c:v>
                </c:pt>
                <c:pt idx="6">
                  <c:v>2.3822999999999999</c:v>
                </c:pt>
              </c:numCache>
            </c:numRef>
          </c:xVal>
          <c:yVal>
            <c:numRef>
              <c:f>Sheet1!$B$2:$B$8</c:f>
              <c:numCache>
                <c:formatCode>General</c:formatCode>
                <c:ptCount val="7"/>
                <c:pt idx="0">
                  <c:v>0.82099999999999995</c:v>
                </c:pt>
                <c:pt idx="1">
                  <c:v>1.0629999999999999</c:v>
                </c:pt>
                <c:pt idx="2">
                  <c:v>1.27</c:v>
                </c:pt>
                <c:pt idx="3">
                  <c:v>0.999</c:v>
                </c:pt>
                <c:pt idx="4">
                  <c:v>1.0669999999999999</c:v>
                </c:pt>
                <c:pt idx="5">
                  <c:v>0.98599999999999999</c:v>
                </c:pt>
                <c:pt idx="6">
                  <c:v>1.2729999999999999</c:v>
                </c:pt>
              </c:numCache>
            </c:numRef>
          </c:yVal>
          <c:bubbleSize>
            <c:numRef>
              <c:f>Sheet1!$C$2:$C$8</c:f>
              <c:numCache>
                <c:formatCode>General</c:formatCode>
                <c:ptCount val="7"/>
                <c:pt idx="0">
                  <c:v>192818189</c:v>
                </c:pt>
                <c:pt idx="1">
                  <c:v>129484416</c:v>
                </c:pt>
                <c:pt idx="2">
                  <c:v>102950969</c:v>
                </c:pt>
                <c:pt idx="3">
                  <c:v>89789727</c:v>
                </c:pt>
                <c:pt idx="4">
                  <c:v>33885051</c:v>
                </c:pt>
                <c:pt idx="5">
                  <c:v>12291466</c:v>
                </c:pt>
                <c:pt idx="6">
                  <c:v>7337046</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Bel</c:v>
                  </c:pt>
                  <c:pt idx="3">
                    <c:v>Lactalis</c:v>
                  </c:pt>
                  <c:pt idx="4">
                    <c:v>Eurial</c:v>
                  </c:pt>
                  <c:pt idx="5">
                    <c:v>Laita</c:v>
                  </c:pt>
                  <c:pt idx="6">
                    <c:v>Casa Azzurr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AFF379-05F8-417D-B48E-0A602DB170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333F04B-6F9C-41AF-8597-9B12ED8BD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FA25C8-A849-416F-8942-1B0ECA100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D0DB73-1271-4408-8552-F1ACC9B9F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4FEB2A-5444-4793-85F9-0262783DB9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9E13EC2-C58E-4E6F-8451-7FC636A20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27BB012-C969-40E9-98A3-3A218326D5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DD35D98-95C9-465C-93C5-2B68FAB05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387</c:v>
                </c:pt>
                <c:pt idx="1">
                  <c:v>2.2827999999999999</c:v>
                </c:pt>
                <c:pt idx="2">
                  <c:v>2.7042000000000002</c:v>
                </c:pt>
                <c:pt idx="3">
                  <c:v>2.9156</c:v>
                </c:pt>
                <c:pt idx="4">
                  <c:v>3.2122000000000002</c:v>
                </c:pt>
                <c:pt idx="5">
                  <c:v>3.2845</c:v>
                </c:pt>
                <c:pt idx="6">
                  <c:v>2.9792000000000001</c:v>
                </c:pt>
                <c:pt idx="7">
                  <c:v>2.3307000000000002</c:v>
                </c:pt>
              </c:numCache>
            </c:numRef>
          </c:xVal>
          <c:yVal>
            <c:numRef>
              <c:f>Sheet1!$B$2:$B$9</c:f>
              <c:numCache>
                <c:formatCode>General</c:formatCode>
                <c:ptCount val="8"/>
                <c:pt idx="0">
                  <c:v>0.85499999999999998</c:v>
                </c:pt>
                <c:pt idx="1">
                  <c:v>0.82199999999999995</c:v>
                </c:pt>
                <c:pt idx="2">
                  <c:v>1.0820000000000001</c:v>
                </c:pt>
                <c:pt idx="3">
                  <c:v>1.1399999999999999</c:v>
                </c:pt>
                <c:pt idx="4">
                  <c:v>1.1879999999999999</c:v>
                </c:pt>
                <c:pt idx="5">
                  <c:v>0.92500000000000004</c:v>
                </c:pt>
                <c:pt idx="6">
                  <c:v>1.1619999999999999</c:v>
                </c:pt>
                <c:pt idx="7">
                  <c:v>1.3620000000000001</c:v>
                </c:pt>
              </c:numCache>
            </c:numRef>
          </c:yVal>
          <c:bubbleSize>
            <c:numRef>
              <c:f>Sheet1!$C$2:$C$9</c:f>
              <c:numCache>
                <c:formatCode>General</c:formatCode>
                <c:ptCount val="8"/>
                <c:pt idx="0">
                  <c:v>1760863092</c:v>
                </c:pt>
                <c:pt idx="1">
                  <c:v>230947562</c:v>
                </c:pt>
                <c:pt idx="2">
                  <c:v>200738299</c:v>
                </c:pt>
                <c:pt idx="3">
                  <c:v>188621011</c:v>
                </c:pt>
                <c:pt idx="4">
                  <c:v>187705593</c:v>
                </c:pt>
                <c:pt idx="5">
                  <c:v>143118988</c:v>
                </c:pt>
                <c:pt idx="6">
                  <c:v>115028964</c:v>
                </c:pt>
                <c:pt idx="7">
                  <c:v>81763679</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994303C-D66F-4817-9EA8-E25A045B3D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75D594-A4AC-4F6B-8912-CC85FD34BE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76C1EFA-59A3-4798-90BF-910DFD9F17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378587B-EC8F-4FB9-8BC9-B1259C0EFB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53075BC-233E-4900-9F7C-676CE1A6C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1548929-6577-4BE3-BFE7-2E6FE3485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D2FDD2F-F1C7-4CDB-9DB4-F53476CC7B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2B00ED1-CCB0-4E0F-8C60-519B33087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0387</c:v>
                </c:pt>
                <c:pt idx="1">
                  <c:v>2.7644000000000002</c:v>
                </c:pt>
                <c:pt idx="2">
                  <c:v>2.5047000000000001</c:v>
                </c:pt>
                <c:pt idx="3">
                  <c:v>3.0444</c:v>
                </c:pt>
                <c:pt idx="4">
                  <c:v>2.7181999999999999</c:v>
                </c:pt>
                <c:pt idx="5">
                  <c:v>2.4735</c:v>
                </c:pt>
                <c:pt idx="6">
                  <c:v>2.2101999999999999</c:v>
                </c:pt>
              </c:numCache>
            </c:numRef>
          </c:xVal>
          <c:yVal>
            <c:numRef>
              <c:f>Sheet1!$B$2:$B$8</c:f>
              <c:numCache>
                <c:formatCode>General</c:formatCode>
                <c:ptCount val="7"/>
                <c:pt idx="0">
                  <c:v>0.85499999999999998</c:v>
                </c:pt>
                <c:pt idx="1">
                  <c:v>1.044</c:v>
                </c:pt>
                <c:pt idx="2">
                  <c:v>1.032</c:v>
                </c:pt>
                <c:pt idx="3">
                  <c:v>1.173</c:v>
                </c:pt>
                <c:pt idx="4">
                  <c:v>1.0960000000000001</c:v>
                </c:pt>
                <c:pt idx="5">
                  <c:v>1.014</c:v>
                </c:pt>
                <c:pt idx="6">
                  <c:v>1.2869999999999999</c:v>
                </c:pt>
              </c:numCache>
            </c:numRef>
          </c:yVal>
          <c:bubbleSize>
            <c:numRef>
              <c:f>Sheet1!$C$2:$C$8</c:f>
              <c:numCache>
                <c:formatCode>General</c:formatCode>
                <c:ptCount val="7"/>
                <c:pt idx="0">
                  <c:v>1760863092</c:v>
                </c:pt>
                <c:pt idx="1">
                  <c:v>782381468</c:v>
                </c:pt>
                <c:pt idx="2">
                  <c:v>567498945</c:v>
                </c:pt>
                <c:pt idx="3">
                  <c:v>473706304</c:v>
                </c:pt>
                <c:pt idx="4">
                  <c:v>208748541</c:v>
                </c:pt>
                <c:pt idx="5">
                  <c:v>91929908</c:v>
                </c:pt>
                <c:pt idx="6">
                  <c:v>81358477</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Laita</c:v>
                  </c:pt>
                  <c:pt idx="6">
                    <c:v>Casa Azzurr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8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5EDA10-FC3E-43F4-81C6-1DF3D3D7D3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77D8AB-04B9-4900-8144-B10BF908A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6D069FC-2838-4F22-8979-7B7CC06378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255F7B-F73B-4DDA-9608-DB86C761B2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5C38D00-274B-4090-AEF9-F63EF318A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8C421C5-BC29-4801-BC0D-D94B85E79A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BA470F-FC1A-4D73-9EA4-FF7EC6377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1D72A1A-3F42-4596-8CE4-81197A03E1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59</c:v>
                </c:pt>
                <c:pt idx="1">
                  <c:v>2.8267000000000002</c:v>
                </c:pt>
                <c:pt idx="2">
                  <c:v>2.5550000000000002</c:v>
                </c:pt>
                <c:pt idx="3">
                  <c:v>3.0360999999999998</c:v>
                </c:pt>
                <c:pt idx="4">
                  <c:v>2.84</c:v>
                </c:pt>
                <c:pt idx="5">
                  <c:v>2.5825999999999998</c:v>
                </c:pt>
                <c:pt idx="6">
                  <c:v>2.3689</c:v>
                </c:pt>
                <c:pt idx="7">
                  <c:v>2.8247</c:v>
                </c:pt>
              </c:numCache>
            </c:numRef>
          </c:xVal>
          <c:yVal>
            <c:numRef>
              <c:f>Sheet1!$B$2:$B$9</c:f>
              <c:numCache>
                <c:formatCode>General</c:formatCode>
                <c:ptCount val="8"/>
                <c:pt idx="0">
                  <c:v>0.88500000000000001</c:v>
                </c:pt>
                <c:pt idx="1">
                  <c:v>1.016</c:v>
                </c:pt>
                <c:pt idx="2">
                  <c:v>0.96699999999999997</c:v>
                </c:pt>
                <c:pt idx="3">
                  <c:v>1.0329999999999999</c:v>
                </c:pt>
                <c:pt idx="4">
                  <c:v>1.0680000000000001</c:v>
                </c:pt>
                <c:pt idx="5">
                  <c:v>0.96199999999999997</c:v>
                </c:pt>
                <c:pt idx="6">
                  <c:v>1.2749999999999999</c:v>
                </c:pt>
                <c:pt idx="7">
                  <c:v>1.976</c:v>
                </c:pt>
              </c:numCache>
            </c:numRef>
          </c:yVal>
          <c:bubbleSize>
            <c:numRef>
              <c:f>Sheet1!$C$2:$C$9</c:f>
              <c:numCache>
                <c:formatCode>General</c:formatCode>
                <c:ptCount val="8"/>
                <c:pt idx="0">
                  <c:v>263392264</c:v>
                </c:pt>
                <c:pt idx="1">
                  <c:v>138454434</c:v>
                </c:pt>
                <c:pt idx="2">
                  <c:v>96164672</c:v>
                </c:pt>
                <c:pt idx="3">
                  <c:v>91304687</c:v>
                </c:pt>
                <c:pt idx="4">
                  <c:v>35530654</c:v>
                </c:pt>
                <c:pt idx="5">
                  <c:v>17030223</c:v>
                </c:pt>
                <c:pt idx="6">
                  <c:v>15744363</c:v>
                </c:pt>
                <c:pt idx="7">
                  <c:v>8292955</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Laita</c:v>
                  </c:pt>
                  <c:pt idx="6">
                    <c:v>Casa Azzurra</c:v>
                  </c:pt>
                  <c:pt idx="7">
                    <c:v>Ker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76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F5F3CE3-F61B-48EC-AC5B-48E2E31395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4BCC19-E4E2-43F1-833F-1C0EFCFA2A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586D34-3869-4B30-94BB-8DE55D54BB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E9D0163-858D-4E4F-B857-7A34AB799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7FAEB22-7CA1-4823-B31E-8DD54EA5E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D4F95B8-BBBF-407B-A7AF-BB8F1D389F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08C187E-484C-4E18-917B-377371FEA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760B552-1D16-4A0F-B859-359F34788A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106999999999999</c:v>
                </c:pt>
                <c:pt idx="1">
                  <c:v>2.8250000000000002</c:v>
                </c:pt>
                <c:pt idx="2">
                  <c:v>2.5489000000000002</c:v>
                </c:pt>
                <c:pt idx="3">
                  <c:v>3.0783999999999998</c:v>
                </c:pt>
                <c:pt idx="4">
                  <c:v>2.7532000000000001</c:v>
                </c:pt>
                <c:pt idx="5">
                  <c:v>2.4512999999999998</c:v>
                </c:pt>
                <c:pt idx="6">
                  <c:v>2.3822999999999999</c:v>
                </c:pt>
                <c:pt idx="7">
                  <c:v>2.7042000000000002</c:v>
                </c:pt>
              </c:numCache>
            </c:numRef>
          </c:xVal>
          <c:yVal>
            <c:numRef>
              <c:f>Sheet1!$B$2:$B$9</c:f>
              <c:numCache>
                <c:formatCode>General</c:formatCode>
                <c:ptCount val="8"/>
                <c:pt idx="0">
                  <c:v>0.83699999999999997</c:v>
                </c:pt>
                <c:pt idx="1">
                  <c:v>1.06</c:v>
                </c:pt>
                <c:pt idx="2">
                  <c:v>1.0269999999999999</c:v>
                </c:pt>
                <c:pt idx="3">
                  <c:v>1.21</c:v>
                </c:pt>
                <c:pt idx="4">
                  <c:v>1.097</c:v>
                </c:pt>
                <c:pt idx="5">
                  <c:v>1.0129999999999999</c:v>
                </c:pt>
                <c:pt idx="6">
                  <c:v>1.3080000000000001</c:v>
                </c:pt>
                <c:pt idx="7">
                  <c:v>2.081</c:v>
                </c:pt>
              </c:numCache>
            </c:numRef>
          </c:yVal>
          <c:bubbleSize>
            <c:numRef>
              <c:f>Sheet1!$C$2:$C$9</c:f>
              <c:numCache>
                <c:formatCode>General</c:formatCode>
                <c:ptCount val="8"/>
                <c:pt idx="0">
                  <c:v>189926117</c:v>
                </c:pt>
                <c:pt idx="1">
                  <c:v>121518208</c:v>
                </c:pt>
                <c:pt idx="2">
                  <c:v>89789426</c:v>
                </c:pt>
                <c:pt idx="3">
                  <c:v>74872481</c:v>
                </c:pt>
                <c:pt idx="4">
                  <c:v>33885051</c:v>
                </c:pt>
                <c:pt idx="5">
                  <c:v>12291466</c:v>
                </c:pt>
                <c:pt idx="6">
                  <c:v>7337046</c:v>
                </c:pt>
                <c:pt idx="7">
                  <c:v>5799659</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Laita</c:v>
                  </c:pt>
                  <c:pt idx="6">
                    <c:v>Casa Azzurra</c:v>
                  </c:pt>
                  <c:pt idx="7">
                    <c:v>Ker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81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34830D-7174-4168-9F50-D1125614D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4A7016-2094-4B79-957B-30B73D6BE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F0A1C0-198D-4653-8AD0-BA804E3B2A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3430E33-6B16-40F0-9AB0-D071452E80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03DD940-08ED-4951-8E76-CB99314177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9D4E417-A997-4D9F-AB65-D0DE17FB87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E9469D7-2881-44A6-B6CB-BDCA3B691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5BD3911-3C7C-4800-AFCB-ACD5CF6E7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6044999999999998</c:v>
                </c:pt>
                <c:pt idx="1">
                  <c:v>2.1459999999999999</c:v>
                </c:pt>
                <c:pt idx="2">
                  <c:v>2.8138999999999998</c:v>
                </c:pt>
                <c:pt idx="3">
                  <c:v>3.5116999999999998</c:v>
                </c:pt>
              </c:numCache>
            </c:numRef>
          </c:xVal>
          <c:yVal>
            <c:numRef>
              <c:f>Sheet1!$B$2:$B$5</c:f>
              <c:numCache>
                <c:formatCode>General</c:formatCode>
                <c:ptCount val="4"/>
                <c:pt idx="0">
                  <c:v>0.93100000000000005</c:v>
                </c:pt>
                <c:pt idx="1">
                  <c:v>1.1000000000000001</c:v>
                </c:pt>
                <c:pt idx="2">
                  <c:v>1.34</c:v>
                </c:pt>
                <c:pt idx="3">
                  <c:v>1.55</c:v>
                </c:pt>
              </c:numCache>
            </c:numRef>
          </c:yVal>
          <c:bubbleSize>
            <c:numRef>
              <c:f>Sheet1!$C$2:$C$5</c:f>
              <c:numCache>
                <c:formatCode>General</c:formatCode>
                <c:ptCount val="4"/>
                <c:pt idx="0">
                  <c:v>145502087</c:v>
                </c:pt>
                <c:pt idx="1">
                  <c:v>40996160</c:v>
                </c:pt>
                <c:pt idx="2">
                  <c:v>14160014</c:v>
                </c:pt>
                <c:pt idx="3">
                  <c:v>3196808</c:v>
                </c:pt>
              </c:numCache>
            </c:numRef>
          </c:bubbleSize>
          <c:bubble3D val="0"/>
          <c:extLst>
            <c:ext xmlns:c15="http://schemas.microsoft.com/office/drawing/2012/chart" uri="{02D57815-91ED-43cb-92C2-25804820EDAC}">
              <c15:datalabelsRange>
                <c15:f>Sheet1!$E$2:$E$10</c15:f>
                <c15:dlblRangeCache>
                  <c:ptCount val="9"/>
                  <c:pt idx="0">
                    <c:v>Bel</c:v>
                  </c:pt>
                  <c:pt idx="1">
                    <c:v>Savencia</c:v>
                  </c:pt>
                  <c:pt idx="2">
                    <c:v>Mdd</c:v>
                  </c:pt>
                  <c:pt idx="3">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90413C3-4C92-468C-B13F-DF6A59882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3F14118-EB8E-466C-9586-2F837EEA4A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022D3D4-7098-4501-B6B6-1C627BC85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B67846-5144-4AA5-B980-F242A2EE3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628D758-EA80-48DB-A1C6-6D92015189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A9195EF-7B46-4878-B572-176BB659D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1D1E902-AC55-4B45-AD69-E6119275E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2411101-D893-4906-B2AD-5150AF2AD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7395999999999998</c:v>
                </c:pt>
                <c:pt idx="1">
                  <c:v>2.1937000000000002</c:v>
                </c:pt>
                <c:pt idx="2">
                  <c:v>3.0528</c:v>
                </c:pt>
                <c:pt idx="3">
                  <c:v>3.2208999999999999</c:v>
                </c:pt>
              </c:numCache>
            </c:numRef>
          </c:xVal>
          <c:yVal>
            <c:numRef>
              <c:f>Sheet1!$B$2:$B$5</c:f>
              <c:numCache>
                <c:formatCode>General</c:formatCode>
                <c:ptCount val="4"/>
                <c:pt idx="0">
                  <c:v>0.93600000000000005</c:v>
                </c:pt>
                <c:pt idx="1">
                  <c:v>1.0529999999999999</c:v>
                </c:pt>
                <c:pt idx="2">
                  <c:v>1.4810000000000001</c:v>
                </c:pt>
                <c:pt idx="3">
                  <c:v>1.732</c:v>
                </c:pt>
              </c:numCache>
            </c:numRef>
          </c:yVal>
          <c:bubbleSize>
            <c:numRef>
              <c:f>Sheet1!$C$2:$C$5</c:f>
              <c:numCache>
                <c:formatCode>General</c:formatCode>
                <c:ptCount val="4"/>
                <c:pt idx="0">
                  <c:v>27317488</c:v>
                </c:pt>
                <c:pt idx="1">
                  <c:v>7126451</c:v>
                </c:pt>
                <c:pt idx="2">
                  <c:v>2136150</c:v>
                </c:pt>
                <c:pt idx="3">
                  <c:v>823561</c:v>
                </c:pt>
              </c:numCache>
            </c:numRef>
          </c:bubbleSize>
          <c:bubble3D val="0"/>
          <c:extLst>
            <c:ext xmlns:c15="http://schemas.microsoft.com/office/drawing/2012/chart" uri="{02D57815-91ED-43cb-92C2-25804820EDAC}">
              <c15:datalabelsRange>
                <c15:f>Sheet1!$E$2:$E$10</c15:f>
                <c15:dlblRangeCache>
                  <c:ptCount val="9"/>
                  <c:pt idx="0">
                    <c:v>Bel</c:v>
                  </c:pt>
                  <c:pt idx="1">
                    <c:v>Savencia</c:v>
                  </c:pt>
                  <c:pt idx="2">
                    <c:v>Mdd</c:v>
                  </c:pt>
                  <c:pt idx="3">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3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066071-6B82-49E9-BFEE-F38491A22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D880208-9E8A-4E78-9D30-34E504900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99D98A-C9FA-4B7F-B627-674B95E51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A33A93-5EA6-40CE-9B60-912004087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2A24651-EB88-4853-9C05-19D8967EA1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A0F1B9C-8E70-4DE0-A2E4-F82EA4ECD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961D209-7951-4234-BE63-BCA9F65618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C550715-B479-4949-840C-1CC901AAD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6850000000000001</c:v>
                </c:pt>
                <c:pt idx="1">
                  <c:v>2.3007</c:v>
                </c:pt>
                <c:pt idx="2">
                  <c:v>2.5989</c:v>
                </c:pt>
                <c:pt idx="3">
                  <c:v>2.8252000000000002</c:v>
                </c:pt>
              </c:numCache>
            </c:numRef>
          </c:xVal>
          <c:yVal>
            <c:numRef>
              <c:f>Sheet1!$B$2:$B$5</c:f>
              <c:numCache>
                <c:formatCode>General</c:formatCode>
                <c:ptCount val="4"/>
                <c:pt idx="0">
                  <c:v>0.96</c:v>
                </c:pt>
                <c:pt idx="1">
                  <c:v>1.1910000000000001</c:v>
                </c:pt>
                <c:pt idx="2">
                  <c:v>1.0129999999999999</c:v>
                </c:pt>
                <c:pt idx="3">
                  <c:v>0.81599999999999995</c:v>
                </c:pt>
              </c:numCache>
            </c:numRef>
          </c:yVal>
          <c:bubbleSize>
            <c:numRef>
              <c:f>Sheet1!$C$2:$C$5</c:f>
              <c:numCache>
                <c:formatCode>General</c:formatCode>
                <c:ptCount val="4"/>
                <c:pt idx="0">
                  <c:v>27546975</c:v>
                </c:pt>
                <c:pt idx="1">
                  <c:v>7399108</c:v>
                </c:pt>
                <c:pt idx="2">
                  <c:v>2642649</c:v>
                </c:pt>
                <c:pt idx="3">
                  <c:v>473706</c:v>
                </c:pt>
              </c:numCache>
            </c:numRef>
          </c:bubbleSize>
          <c:bubble3D val="0"/>
          <c:extLst>
            <c:ext xmlns:c15="http://schemas.microsoft.com/office/drawing/2012/chart" uri="{02D57815-91ED-43cb-92C2-25804820EDAC}">
              <c15:datalabelsRange>
                <c15:f>Sheet1!$E$2:$E$10</c15:f>
                <c15:dlblRangeCache>
                  <c:ptCount val="9"/>
                  <c:pt idx="0">
                    <c:v>Bel</c:v>
                  </c:pt>
                  <c:pt idx="1">
                    <c:v>Savencia</c:v>
                  </c:pt>
                  <c:pt idx="2">
                    <c:v>Mdd</c:v>
                  </c:pt>
                  <c:pt idx="3">
                    <c:v>Entremon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BA15F38-7581-4B39-B3FB-65C3F0D0E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97BCA2-DD00-488C-B0FD-88D4AD0FED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F6335F-C01E-44C5-89C5-A44FAE23BD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72825B-B77B-4EE4-9990-8E31EB033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247926C-2835-4C75-A3EF-00DC0DD24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2BB0039-FC53-4609-A125-04BC6D1BF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C6CF8F2-4797-4191-9E58-DD6C7934C1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3DD1610-1FDF-445E-8FE0-8D0923E21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2654999999999998</c:v>
                </c:pt>
                <c:pt idx="1">
                  <c:v>2.2181000000000002</c:v>
                </c:pt>
                <c:pt idx="2">
                  <c:v>2.7117</c:v>
                </c:pt>
                <c:pt idx="3">
                  <c:v>3.2099000000000002</c:v>
                </c:pt>
              </c:numCache>
            </c:numRef>
          </c:xVal>
          <c:yVal>
            <c:numRef>
              <c:f>Sheet1!$B$2:$B$5</c:f>
              <c:numCache>
                <c:formatCode>General</c:formatCode>
                <c:ptCount val="4"/>
                <c:pt idx="0">
                  <c:v>1.093</c:v>
                </c:pt>
                <c:pt idx="1">
                  <c:v>0.64400000000000002</c:v>
                </c:pt>
                <c:pt idx="2">
                  <c:v>1.952</c:v>
                </c:pt>
                <c:pt idx="3">
                  <c:v>1.484</c:v>
                </c:pt>
              </c:numCache>
            </c:numRef>
          </c:yVal>
          <c:bubbleSize>
            <c:numRef>
              <c:f>Sheet1!$C$2:$C$5</c:f>
              <c:numCache>
                <c:formatCode>General</c:formatCode>
                <c:ptCount val="4"/>
                <c:pt idx="0">
                  <c:v>386088379</c:v>
                </c:pt>
                <c:pt idx="1">
                  <c:v>100313963</c:v>
                </c:pt>
                <c:pt idx="2">
                  <c:v>40963436</c:v>
                </c:pt>
                <c:pt idx="3">
                  <c:v>11185537</c:v>
                </c:pt>
              </c:numCache>
            </c:numRef>
          </c:bubbleSize>
          <c:bubble3D val="0"/>
          <c:extLst>
            <c:ext xmlns:c15="http://schemas.microsoft.com/office/drawing/2012/chart" uri="{02D57815-91ED-43cb-92C2-25804820EDAC}">
              <c15:datalabelsRange>
                <c15:f>Sheet1!$E$2:$E$10</c15:f>
                <c15:dlblRangeCache>
                  <c:ptCount val="9"/>
                  <c:pt idx="0">
                    <c:v>Bel</c:v>
                  </c:pt>
                  <c:pt idx="1">
                    <c:v>Mdd</c:v>
                  </c:pt>
                  <c:pt idx="2">
                    <c:v>Kerry</c:v>
                  </c:pt>
                  <c:pt idx="3">
                    <c:v>Savenc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2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0FD603-9219-4547-BC01-5AE7CC0A3D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1C9D321-6BA2-4C5A-9CFA-383EA69CA8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EA1DDAD-9AB9-4AD3-9C26-45A58D9858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0D57C3-9486-45B0-BF63-FFD9BE7AB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16BBC41-322C-4966-972F-27C163404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52CD5DE-47B2-410F-9BC4-AA69AFFC03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5393AB2-24FB-4147-868F-B9D81405B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DF2B9DE-33BF-4E62-B21E-F1051D6B0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2364999999999999</c:v>
                </c:pt>
                <c:pt idx="1">
                  <c:v>2.3189000000000002</c:v>
                </c:pt>
                <c:pt idx="2">
                  <c:v>2.8247</c:v>
                </c:pt>
                <c:pt idx="3">
                  <c:v>3.0143</c:v>
                </c:pt>
              </c:numCache>
            </c:numRef>
          </c:xVal>
          <c:yVal>
            <c:numRef>
              <c:f>Sheet1!$B$2:$B$5</c:f>
              <c:numCache>
                <c:formatCode>General</c:formatCode>
                <c:ptCount val="4"/>
                <c:pt idx="0">
                  <c:v>0.998</c:v>
                </c:pt>
                <c:pt idx="1">
                  <c:v>0.69099999999999995</c:v>
                </c:pt>
                <c:pt idx="2">
                  <c:v>2.008</c:v>
                </c:pt>
                <c:pt idx="3">
                  <c:v>1.619</c:v>
                </c:pt>
              </c:numCache>
            </c:numRef>
          </c:yVal>
          <c:bubbleSize>
            <c:numRef>
              <c:f>Sheet1!$C$2:$C$5</c:f>
              <c:numCache>
                <c:formatCode>General</c:formatCode>
                <c:ptCount val="4"/>
                <c:pt idx="0">
                  <c:v>74315385</c:v>
                </c:pt>
                <c:pt idx="1">
                  <c:v>10731593</c:v>
                </c:pt>
                <c:pt idx="2">
                  <c:v>8292955</c:v>
                </c:pt>
                <c:pt idx="3">
                  <c:v>2021660</c:v>
                </c:pt>
              </c:numCache>
            </c:numRef>
          </c:bubbleSize>
          <c:bubble3D val="0"/>
          <c:extLst>
            <c:ext xmlns:c15="http://schemas.microsoft.com/office/drawing/2012/chart" uri="{02D57815-91ED-43cb-92C2-25804820EDAC}">
              <c15:datalabelsRange>
                <c15:f>Sheet1!$E$2:$E$10</c15:f>
                <c15:dlblRangeCache>
                  <c:ptCount val="9"/>
                  <c:pt idx="0">
                    <c:v>Bel</c:v>
                  </c:pt>
                  <c:pt idx="1">
                    <c:v>Mdd</c:v>
                  </c:pt>
                  <c:pt idx="2">
                    <c:v>Kerry</c:v>
                  </c:pt>
                  <c:pt idx="3">
                    <c:v>Savenc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08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E522283-8010-400E-A6C5-9179EF46F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C763EB-5BFD-4745-BEE9-ED4866837D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A393E4-F201-4B79-A4AA-0F9074A18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B75AF2-C375-49E9-A849-08C71058B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8D6F6DF-1542-41C1-BE0A-D2FF220D5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15AE6D2-3A6A-4FB0-A106-7FA8101B6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393D8AB-A610-4183-99E4-45B55AB38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C723771-8736-489E-A401-0FD029C21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3399000000000001</c:v>
                </c:pt>
                <c:pt idx="1">
                  <c:v>2.0585</c:v>
                </c:pt>
                <c:pt idx="2">
                  <c:v>2.7042000000000002</c:v>
                </c:pt>
                <c:pt idx="3">
                  <c:v>3.6595</c:v>
                </c:pt>
              </c:numCache>
            </c:numRef>
          </c:xVal>
          <c:yVal>
            <c:numRef>
              <c:f>Sheet1!$B$2:$B$5</c:f>
              <c:numCache>
                <c:formatCode>General</c:formatCode>
                <c:ptCount val="4"/>
                <c:pt idx="0">
                  <c:v>1.052</c:v>
                </c:pt>
                <c:pt idx="1">
                  <c:v>0.64100000000000001</c:v>
                </c:pt>
                <c:pt idx="2">
                  <c:v>1.871</c:v>
                </c:pt>
                <c:pt idx="3">
                  <c:v>1.278</c:v>
                </c:pt>
              </c:numCache>
            </c:numRef>
          </c:yVal>
          <c:bubbleSize>
            <c:numRef>
              <c:f>Sheet1!$C$2:$C$5</c:f>
              <c:numCache>
                <c:formatCode>General</c:formatCode>
                <c:ptCount val="4"/>
                <c:pt idx="0">
                  <c:v>58267866</c:v>
                </c:pt>
                <c:pt idx="1">
                  <c:v>10594194</c:v>
                </c:pt>
                <c:pt idx="2">
                  <c:v>5799659</c:v>
                </c:pt>
                <c:pt idx="3">
                  <c:v>1522946</c:v>
                </c:pt>
              </c:numCache>
            </c:numRef>
          </c:bubbleSize>
          <c:bubble3D val="0"/>
          <c:extLst>
            <c:ext xmlns:c15="http://schemas.microsoft.com/office/drawing/2012/chart" uri="{02D57815-91ED-43cb-92C2-25804820EDAC}">
              <c15:datalabelsRange>
                <c15:f>Sheet1!$E$2:$E$10</c15:f>
                <c15:dlblRangeCache>
                  <c:ptCount val="9"/>
                  <c:pt idx="0">
                    <c:v>Bel</c:v>
                  </c:pt>
                  <c:pt idx="1">
                    <c:v>Mdd</c:v>
                  </c:pt>
                  <c:pt idx="2">
                    <c:v>Kerry</c:v>
                  </c:pt>
                  <c:pt idx="3">
                    <c:v>Savenc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71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9F2427C-D636-4016-9A04-0C7B368D9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7800DFF-CB32-4DD9-B837-19A2A13B5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F95B20-6512-44BD-A331-BE36CE075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05B4A9E-5FA6-4214-9CC8-FB8ACDF511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ACAC6D5-D82F-4DF6-92AF-63A04E3CC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8D4164-879B-4822-A7D9-2BDCA45A0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AA8D2AD-1F9C-4B50-A07E-02515599A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C7C6E00-1ECE-4BC4-9C3F-5FA601A007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669</c:v>
                </c:pt>
                <c:pt idx="1">
                  <c:v>1.5004999999999999</c:v>
                </c:pt>
                <c:pt idx="2">
                  <c:v>2.4548999999999999</c:v>
                </c:pt>
                <c:pt idx="3">
                  <c:v>2.3610000000000002</c:v>
                </c:pt>
                <c:pt idx="4">
                  <c:v>2.6151</c:v>
                </c:pt>
                <c:pt idx="5">
                  <c:v>1.8693</c:v>
                </c:pt>
              </c:numCache>
            </c:numRef>
          </c:xVal>
          <c:yVal>
            <c:numRef>
              <c:f>Sheet1!$B$2:$B$7</c:f>
              <c:numCache>
                <c:formatCode>General</c:formatCode>
                <c:ptCount val="6"/>
                <c:pt idx="0">
                  <c:v>1.1399999999999999</c:v>
                </c:pt>
                <c:pt idx="1">
                  <c:v>0.68899999999999995</c:v>
                </c:pt>
                <c:pt idx="2">
                  <c:v>1.036</c:v>
                </c:pt>
                <c:pt idx="3">
                  <c:v>1.3440000000000001</c:v>
                </c:pt>
                <c:pt idx="4">
                  <c:v>1.0780000000000001</c:v>
                </c:pt>
                <c:pt idx="5">
                  <c:v>1.1970000000000001</c:v>
                </c:pt>
              </c:numCache>
            </c:numRef>
          </c:yVal>
          <c:bubbleSize>
            <c:numRef>
              <c:f>Sheet1!$C$2:$C$7</c:f>
              <c:numCache>
                <c:formatCode>General</c:formatCode>
                <c:ptCount val="6"/>
                <c:pt idx="0">
                  <c:v>311805774</c:v>
                </c:pt>
                <c:pt idx="1">
                  <c:v>139659774</c:v>
                </c:pt>
                <c:pt idx="2">
                  <c:v>89376920</c:v>
                </c:pt>
                <c:pt idx="3">
                  <c:v>75735671</c:v>
                </c:pt>
                <c:pt idx="4">
                  <c:v>30462743</c:v>
                </c:pt>
                <c:pt idx="5">
                  <c:v>13050020</c:v>
                </c:pt>
              </c:numCache>
            </c:numRef>
          </c:bubbleSize>
          <c:bubble3D val="0"/>
          <c:extLst>
            <c:ext xmlns:c15="http://schemas.microsoft.com/office/drawing/2012/chart" uri="{02D57815-91ED-43cb-92C2-25804820EDAC}">
              <c15:datalabelsRange>
                <c15:f>Sheet1!$E$2:$E$10</c15:f>
                <c15:dlblRangeCache>
                  <c:ptCount val="9"/>
                  <c:pt idx="0">
                    <c:v>Savencia</c:v>
                  </c:pt>
                  <c:pt idx="1">
                    <c:v>Mdd</c:v>
                  </c:pt>
                  <c:pt idx="2">
                    <c:v>Laita</c:v>
                  </c:pt>
                  <c:pt idx="3">
                    <c:v>Bel</c:v>
                  </c:pt>
                  <c:pt idx="4">
                    <c:v>Mondelez</c:v>
                  </c:pt>
                  <c:pt idx="5">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FA769ED7-104F-4B46-9A64-C15B560CC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0E4C0A2B-0B18-4B3F-9205-86187D7D01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9CFE39F9-E2A4-4D5B-8834-EBFF3091F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C8F5EC8C-E62C-4EE5-990E-225DECFDE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05C23CFE-327E-4FCC-AF8B-05A5166178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B4817DF-2ED3-4EC5-A15F-5BFCE0D8C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A6160313-2114-401A-A3A9-0131569CA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F3442974-2403-4EED-878B-1F34B8FEC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6396999999999999</c:v>
                </c:pt>
                <c:pt idx="1">
                  <c:v>2.0247000000000002</c:v>
                </c:pt>
                <c:pt idx="2">
                  <c:v>3.3784000000000001</c:v>
                </c:pt>
                <c:pt idx="3">
                  <c:v>2.8138999999999998</c:v>
                </c:pt>
                <c:pt idx="4">
                  <c:v>2.6101999999999999</c:v>
                </c:pt>
                <c:pt idx="5">
                  <c:v>5.2855999999999996</c:v>
                </c:pt>
              </c:numCache>
            </c:numRef>
          </c:xVal>
          <c:yVal>
            <c:numRef>
              <c:f>Sheet1!$B$2:$B$7</c:f>
              <c:numCache>
                <c:formatCode>General</c:formatCode>
                <c:ptCount val="6"/>
                <c:pt idx="0">
                  <c:v>0.873</c:v>
                </c:pt>
                <c:pt idx="1">
                  <c:v>1.04</c:v>
                </c:pt>
                <c:pt idx="2">
                  <c:v>1.736</c:v>
                </c:pt>
                <c:pt idx="3">
                  <c:v>1.34</c:v>
                </c:pt>
                <c:pt idx="4">
                  <c:v>1.341</c:v>
                </c:pt>
                <c:pt idx="5">
                  <c:v>1.528</c:v>
                </c:pt>
              </c:numCache>
            </c:numRef>
          </c:yVal>
          <c:bubbleSize>
            <c:numRef>
              <c:f>Sheet1!$C$2:$C$7</c:f>
              <c:numCache>
                <c:formatCode>General</c:formatCode>
                <c:ptCount val="6"/>
                <c:pt idx="0">
                  <c:v>127145345</c:v>
                </c:pt>
                <c:pt idx="1">
                  <c:v>30565706</c:v>
                </c:pt>
                <c:pt idx="2">
                  <c:v>18356742</c:v>
                </c:pt>
                <c:pt idx="3">
                  <c:v>14160014</c:v>
                </c:pt>
                <c:pt idx="4">
                  <c:v>10194513</c:v>
                </c:pt>
                <c:pt idx="5">
                  <c:v>2156754</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B5ECC38-C0BB-4716-837A-59B57C234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D80401B-23F4-4E0F-8D57-A630CD66D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2F719FE-DE24-42B3-A448-2D6DCD1009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45069A-F200-4679-B353-7794B52471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059608-AC6C-46E0-B372-C599DFF6D6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F20D47-B3D1-4B10-82DF-CB4CF18EA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367B8BD-1BAF-42D7-BA14-420DD222BE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8603F11-C133-4361-9798-807DB54B4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7488000000000001</c:v>
                </c:pt>
                <c:pt idx="1">
                  <c:v>1.6611</c:v>
                </c:pt>
                <c:pt idx="2">
                  <c:v>2.5202</c:v>
                </c:pt>
                <c:pt idx="3">
                  <c:v>2.4275000000000002</c:v>
                </c:pt>
                <c:pt idx="4">
                  <c:v>2.7534999999999998</c:v>
                </c:pt>
                <c:pt idx="5">
                  <c:v>1.9021999999999999</c:v>
                </c:pt>
              </c:numCache>
            </c:numRef>
          </c:xVal>
          <c:yVal>
            <c:numRef>
              <c:f>Sheet1!$B$2:$B$7</c:f>
              <c:numCache>
                <c:formatCode>General</c:formatCode>
                <c:ptCount val="6"/>
                <c:pt idx="0">
                  <c:v>1.1060000000000001</c:v>
                </c:pt>
                <c:pt idx="1">
                  <c:v>0.69099999999999995</c:v>
                </c:pt>
                <c:pt idx="2">
                  <c:v>0.98799999999999999</c:v>
                </c:pt>
                <c:pt idx="3">
                  <c:v>1.284</c:v>
                </c:pt>
                <c:pt idx="4">
                  <c:v>1.0469999999999999</c:v>
                </c:pt>
                <c:pt idx="5">
                  <c:v>1.0980000000000001</c:v>
                </c:pt>
              </c:numCache>
            </c:numRef>
          </c:yVal>
          <c:bubbleSize>
            <c:numRef>
              <c:f>Sheet1!$C$2:$C$7</c:f>
              <c:numCache>
                <c:formatCode>General</c:formatCode>
                <c:ptCount val="6"/>
                <c:pt idx="0">
                  <c:v>52942622</c:v>
                </c:pt>
                <c:pt idx="1">
                  <c:v>16850297</c:v>
                </c:pt>
                <c:pt idx="2">
                  <c:v>16146099</c:v>
                </c:pt>
                <c:pt idx="3">
                  <c:v>13791858</c:v>
                </c:pt>
                <c:pt idx="4">
                  <c:v>8119796</c:v>
                </c:pt>
                <c:pt idx="5">
                  <c:v>2324858</c:v>
                </c:pt>
              </c:numCache>
            </c:numRef>
          </c:bubbleSize>
          <c:bubble3D val="0"/>
          <c:extLst>
            <c:ext xmlns:c15="http://schemas.microsoft.com/office/drawing/2012/chart" uri="{02D57815-91ED-43cb-92C2-25804820EDAC}">
              <c15:datalabelsRange>
                <c15:f>Sheet1!$E$2:$E$10</c15:f>
                <c15:dlblRangeCache>
                  <c:ptCount val="9"/>
                  <c:pt idx="0">
                    <c:v>Savencia</c:v>
                  </c:pt>
                  <c:pt idx="1">
                    <c:v>Mdd</c:v>
                  </c:pt>
                  <c:pt idx="2">
                    <c:v>Laita</c:v>
                  </c:pt>
                  <c:pt idx="3">
                    <c:v>Bel</c:v>
                  </c:pt>
                  <c:pt idx="4">
                    <c:v>Mondelez</c:v>
                  </c:pt>
                  <c:pt idx="5">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8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0542C4C-F0AC-43DB-BD0F-9911B95DFE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5FC495-D4DE-4869-AE17-839B17716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ACE9BDC-49A4-4CF0-B1B6-B3F5DB912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BE1A7B-C875-4FEA-AC40-62DC107366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494CA69-4997-4FB6-85E8-5EBE9A09E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CD97DFA-4394-4268-8FB2-AB5B99FEA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DD2FB7B-7201-45E2-9E29-E84AFB00E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994DA08-E622-4F9C-B7FA-78C9820B58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113999999999998</c:v>
                </c:pt>
                <c:pt idx="1">
                  <c:v>2.4247999999999998</c:v>
                </c:pt>
                <c:pt idx="2">
                  <c:v>1.4523999999999999</c:v>
                </c:pt>
                <c:pt idx="3">
                  <c:v>2.4521999999999999</c:v>
                </c:pt>
                <c:pt idx="4">
                  <c:v>2.4449999999999998</c:v>
                </c:pt>
              </c:numCache>
            </c:numRef>
          </c:xVal>
          <c:yVal>
            <c:numRef>
              <c:f>Sheet1!$B$2:$B$6</c:f>
              <c:numCache>
                <c:formatCode>General</c:formatCode>
                <c:ptCount val="5"/>
                <c:pt idx="0">
                  <c:v>1.0900000000000001</c:v>
                </c:pt>
                <c:pt idx="1">
                  <c:v>1.2869999999999999</c:v>
                </c:pt>
                <c:pt idx="2">
                  <c:v>0.67800000000000005</c:v>
                </c:pt>
                <c:pt idx="3">
                  <c:v>0.97599999999999998</c:v>
                </c:pt>
                <c:pt idx="4">
                  <c:v>0.96699999999999997</c:v>
                </c:pt>
              </c:numCache>
            </c:numRef>
          </c:yVal>
          <c:bubbleSize>
            <c:numRef>
              <c:f>Sheet1!$C$2:$C$6</c:f>
              <c:numCache>
                <c:formatCode>General</c:formatCode>
                <c:ptCount val="5"/>
                <c:pt idx="0">
                  <c:v>49191517</c:v>
                </c:pt>
                <c:pt idx="1">
                  <c:v>14810297</c:v>
                </c:pt>
                <c:pt idx="2">
                  <c:v>14481315</c:v>
                </c:pt>
                <c:pt idx="3">
                  <c:v>12117994</c:v>
                </c:pt>
                <c:pt idx="4">
                  <c:v>3949392</c:v>
                </c:pt>
              </c:numCache>
            </c:numRef>
          </c:bubbleSize>
          <c:bubble3D val="0"/>
          <c:extLst>
            <c:ext xmlns:c15="http://schemas.microsoft.com/office/drawing/2012/chart" uri="{02D57815-91ED-43cb-92C2-25804820EDAC}">
              <c15:datalabelsRange>
                <c15:f>Sheet1!$E$2:$E$10</c15:f>
                <c15:dlblRangeCache>
                  <c:ptCount val="9"/>
                  <c:pt idx="0">
                    <c:v>Savencia</c:v>
                  </c:pt>
                  <c:pt idx="1">
                    <c:v>Bel</c:v>
                  </c:pt>
                  <c:pt idx="2">
                    <c:v>Mdd</c:v>
                  </c:pt>
                  <c:pt idx="3">
                    <c:v>Laita</c:v>
                  </c:pt>
                  <c:pt idx="4">
                    <c:v>Mondele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8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4A7DF7-1188-4540-9DE2-22987CC09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08972C-A14A-4BC8-A407-092B7AA06F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CA16CF-D4A1-4418-9C70-BD36B63B5F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EA44CDA-E526-49AE-B933-F5140FD65B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D871A0B-707E-4C7B-B608-4CD4C24287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F704885-403C-4C56-9E9F-637572545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90CA092-AEEE-419B-8D4B-9C15B295C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2866DAD-EEAB-4DDD-B0C7-09C5FC4205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9124000000000001</c:v>
                </c:pt>
                <c:pt idx="1">
                  <c:v>2.4342000000000001</c:v>
                </c:pt>
                <c:pt idx="2">
                  <c:v>2.2101999999999999</c:v>
                </c:pt>
                <c:pt idx="3">
                  <c:v>2.7967</c:v>
                </c:pt>
                <c:pt idx="4">
                  <c:v>2.2454000000000001</c:v>
                </c:pt>
              </c:numCache>
            </c:numRef>
          </c:xVal>
          <c:yVal>
            <c:numRef>
              <c:f>Sheet1!$B$2:$B$6</c:f>
              <c:numCache>
                <c:formatCode>General</c:formatCode>
                <c:ptCount val="5"/>
                <c:pt idx="0">
                  <c:v>0.91100000000000003</c:v>
                </c:pt>
                <c:pt idx="1">
                  <c:v>1.0489999999999999</c:v>
                </c:pt>
                <c:pt idx="2">
                  <c:v>1.1659999999999999</c:v>
                </c:pt>
                <c:pt idx="3">
                  <c:v>1.5089999999999999</c:v>
                </c:pt>
                <c:pt idx="4">
                  <c:v>1.514</c:v>
                </c:pt>
              </c:numCache>
            </c:numRef>
          </c:yVal>
          <c:bubbleSize>
            <c:numRef>
              <c:f>Sheet1!$C$2:$C$6</c:f>
              <c:numCache>
                <c:formatCode>General</c:formatCode>
                <c:ptCount val="5"/>
                <c:pt idx="0">
                  <c:v>648086880</c:v>
                </c:pt>
                <c:pt idx="1">
                  <c:v>198807792</c:v>
                </c:pt>
                <c:pt idx="2">
                  <c:v>81358477</c:v>
                </c:pt>
                <c:pt idx="3">
                  <c:v>18299013</c:v>
                </c:pt>
                <c:pt idx="4">
                  <c:v>11870220</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Casa Azzurra</c:v>
                  </c:pt>
                  <c:pt idx="3">
                    <c:v>Savencia</c:v>
                  </c:pt>
                  <c:pt idx="4">
                    <c:v>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989D7D-7340-4875-AD0D-FEF5C96196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4B6190-6363-4EA7-BAA5-F558AE3F1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3FC51A-75E5-4756-9B1E-8723AAD736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19ECDCF-AC6D-49E9-8E3E-122186D811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4E533F-180E-4206-B5C8-7534AA7F0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AAFD4EB-5648-4537-A3CD-4AC703594E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B9C8BE8-FF78-4956-BF07-04AA116E5F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44DDEC3-6516-48E0-B560-3A2CCF8A02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1006</c:v>
                </c:pt>
                <c:pt idx="1">
                  <c:v>2.4796999999999998</c:v>
                </c:pt>
                <c:pt idx="2">
                  <c:v>2.3689</c:v>
                </c:pt>
                <c:pt idx="3">
                  <c:v>2.7690999999999999</c:v>
                </c:pt>
                <c:pt idx="4">
                  <c:v>2.2364000000000002</c:v>
                </c:pt>
              </c:numCache>
            </c:numRef>
          </c:xVal>
          <c:yVal>
            <c:numRef>
              <c:f>Sheet1!$B$2:$B$6</c:f>
              <c:numCache>
                <c:formatCode>General</c:formatCode>
                <c:ptCount val="5"/>
                <c:pt idx="0">
                  <c:v>0.91800000000000004</c:v>
                </c:pt>
                <c:pt idx="1">
                  <c:v>0.98599999999999999</c:v>
                </c:pt>
                <c:pt idx="2">
                  <c:v>1.1519999999999999</c:v>
                </c:pt>
                <c:pt idx="3">
                  <c:v>1.3879999999999999</c:v>
                </c:pt>
                <c:pt idx="4">
                  <c:v>1.403</c:v>
                </c:pt>
              </c:numCache>
            </c:numRef>
          </c:yVal>
          <c:bubbleSize>
            <c:numRef>
              <c:f>Sheet1!$C$2:$C$6</c:f>
              <c:numCache>
                <c:formatCode>General</c:formatCode>
                <c:ptCount val="5"/>
                <c:pt idx="0">
                  <c:v>111360239</c:v>
                </c:pt>
                <c:pt idx="1">
                  <c:v>33077245</c:v>
                </c:pt>
                <c:pt idx="2">
                  <c:v>15744363</c:v>
                </c:pt>
                <c:pt idx="3">
                  <c:v>3748285</c:v>
                </c:pt>
                <c:pt idx="4">
                  <c:v>3196825</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Casa Azzurra</c:v>
                  </c:pt>
                  <c:pt idx="3">
                    <c:v>Savencia</c:v>
                  </c:pt>
                  <c:pt idx="4">
                    <c:v>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05C7C7-4080-4CB4-83DA-6BACD0A7EE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B25E68-D7D5-4B23-A295-97FBD5BB1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56FFFE6-7D5F-4E86-9C93-2FF630F763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471EF4-88D4-4A58-81EE-6865870FB9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2D086F-A0EC-4076-A8C5-5571DE8BCD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9094AC9-D9A7-4579-90D1-F1521A12D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14AE12A-8DDC-46DF-B6D9-49C1EC194A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A0D6BD5-6998-4A7A-B3E0-86EC42B6F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8496999999999999</c:v>
                </c:pt>
                <c:pt idx="1">
                  <c:v>2.4710999999999999</c:v>
                </c:pt>
                <c:pt idx="2">
                  <c:v>2.3822999999999999</c:v>
                </c:pt>
                <c:pt idx="3">
                  <c:v>2.8946000000000001</c:v>
                </c:pt>
                <c:pt idx="4">
                  <c:v>2.3374000000000001</c:v>
                </c:pt>
              </c:numCache>
            </c:numRef>
          </c:xVal>
          <c:yVal>
            <c:numRef>
              <c:f>Sheet1!$B$2:$B$6</c:f>
              <c:numCache>
                <c:formatCode>General</c:formatCode>
                <c:ptCount val="5"/>
                <c:pt idx="0">
                  <c:v>0.88700000000000001</c:v>
                </c:pt>
                <c:pt idx="1">
                  <c:v>1.095</c:v>
                </c:pt>
                <c:pt idx="2">
                  <c:v>1.236</c:v>
                </c:pt>
                <c:pt idx="3">
                  <c:v>1.621</c:v>
                </c:pt>
                <c:pt idx="4">
                  <c:v>1.6379999999999999</c:v>
                </c:pt>
              </c:numCache>
            </c:numRef>
          </c:yVal>
          <c:bubbleSize>
            <c:numRef>
              <c:f>Sheet1!$C$2:$C$6</c:f>
              <c:numCache>
                <c:formatCode>General</c:formatCode>
                <c:ptCount val="5"/>
                <c:pt idx="0">
                  <c:v>70217825</c:v>
                </c:pt>
                <c:pt idx="1">
                  <c:v>34039289</c:v>
                </c:pt>
                <c:pt idx="2">
                  <c:v>7337046</c:v>
                </c:pt>
                <c:pt idx="3">
                  <c:v>2911001</c:v>
                </c:pt>
                <c:pt idx="4">
                  <c:v>1794318</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Casa Azzurra</c:v>
                  </c:pt>
                  <c:pt idx="3">
                    <c:v>Savencia</c:v>
                  </c:pt>
                  <c:pt idx="4">
                    <c:v>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3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D$2:$D$7</c:f>
              <c:numCache>
                <c:formatCode>General</c:formatCode>
                <c:ptCount val="6"/>
                <c:pt idx="0">
                  <c:v>1059.4000000000001</c:v>
                </c:pt>
                <c:pt idx="1">
                  <c:v>11.9</c:v>
                </c:pt>
                <c:pt idx="2">
                  <c:v>668.4</c:v>
                </c:pt>
                <c:pt idx="3">
                  <c:v>75.7</c:v>
                </c:pt>
                <c:pt idx="4">
                  <c:v>541.5</c:v>
                </c:pt>
                <c:pt idx="5">
                  <c:v>386.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4.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E28C-4C42-B83D-1E80D2679FA7}"/>
                </c:ext>
              </c:extLst>
            </c:dLbl>
            <c:dLbl>
              <c:idx val="5"/>
              <c:tx>
                <c:rich>
                  <a:bodyPr/>
                  <a:lstStyle/>
                  <a:p>
                    <a:r>
                      <a:t>12.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E28C-4C42-B83D-1E80D2679FA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E$2:$E$7</c:f>
              <c:numCache>
                <c:formatCode>General</c:formatCode>
                <c:ptCount val="6"/>
                <c:pt idx="0">
                  <c:v>12.3581</c:v>
                </c:pt>
                <c:pt idx="1">
                  <c:v>18.715699999999998</c:v>
                </c:pt>
                <c:pt idx="2">
                  <c:v>11.0938</c:v>
                </c:pt>
                <c:pt idx="3">
                  <c:v>14.914300000000001</c:v>
                </c:pt>
                <c:pt idx="4">
                  <c:v>11.6403</c:v>
                </c:pt>
                <c:pt idx="5">
                  <c:v>12.7174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D$2:$D$7</c:f>
              <c:numCache>
                <c:formatCode>General</c:formatCode>
                <c:ptCount val="6"/>
                <c:pt idx="0">
                  <c:v>191.4</c:v>
                </c:pt>
                <c:pt idx="1">
                  <c:v>3.2</c:v>
                </c:pt>
                <c:pt idx="2">
                  <c:v>111.9</c:v>
                </c:pt>
                <c:pt idx="3">
                  <c:v>13.8</c:v>
                </c:pt>
                <c:pt idx="4">
                  <c:v>95.4</c:v>
                </c:pt>
                <c:pt idx="5">
                  <c:v>74.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04DA-48C2-BCF6-DC23826FB615}"/>
                </c:ext>
              </c:extLst>
            </c:dLbl>
            <c:dLbl>
              <c:idx val="5"/>
              <c:tx>
                <c:rich>
                  <a:bodyPr/>
                  <a:lstStyle/>
                  <a:p>
                    <a:r>
                      <a:t>1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04DA-48C2-BCF6-DC23826FB61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E$2:$E$7</c:f>
              <c:numCache>
                <c:formatCode>General</c:formatCode>
                <c:ptCount val="6"/>
                <c:pt idx="0">
                  <c:v>13.3095</c:v>
                </c:pt>
                <c:pt idx="1">
                  <c:v>18.670000000000002</c:v>
                </c:pt>
                <c:pt idx="2">
                  <c:v>12.0724</c:v>
                </c:pt>
                <c:pt idx="3">
                  <c:v>15.504799999999999</c:v>
                </c:pt>
                <c:pt idx="4">
                  <c:v>11.825200000000001</c:v>
                </c:pt>
                <c:pt idx="5">
                  <c:v>11.8036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D$2:$D$7</c:f>
              <c:numCache>
                <c:formatCode>General</c:formatCode>
                <c:ptCount val="6"/>
                <c:pt idx="0">
                  <c:v>122.8</c:v>
                </c:pt>
                <c:pt idx="1">
                  <c:v>1.8</c:v>
                </c:pt>
                <c:pt idx="2">
                  <c:v>95</c:v>
                </c:pt>
                <c:pt idx="3">
                  <c:v>14.8</c:v>
                </c:pt>
                <c:pt idx="4">
                  <c:v>76.2</c:v>
                </c:pt>
                <c:pt idx="5">
                  <c:v>58.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025-4E27-912A-0188EA38D101}"/>
                </c:ext>
              </c:extLst>
            </c:dLbl>
            <c:dLbl>
              <c:idx val="5"/>
              <c:tx>
                <c:rich>
                  <a:bodyPr/>
                  <a:lstStyle/>
                  <a:p>
                    <a:r>
                      <a:t>13.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025-4E27-912A-0188EA38D10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E$2:$E$7</c:f>
              <c:numCache>
                <c:formatCode>General</c:formatCode>
                <c:ptCount val="6"/>
                <c:pt idx="0">
                  <c:v>11.93</c:v>
                </c:pt>
                <c:pt idx="1">
                  <c:v>19.544699999999999</c:v>
                </c:pt>
                <c:pt idx="2">
                  <c:v>11.738200000000001</c:v>
                </c:pt>
                <c:pt idx="3">
                  <c:v>15.1084</c:v>
                </c:pt>
                <c:pt idx="4">
                  <c:v>12.538</c:v>
                </c:pt>
                <c:pt idx="5">
                  <c:v>13.193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D$2:$D$7</c:f>
              <c:numCache>
                <c:formatCode>General</c:formatCode>
                <c:ptCount val="6"/>
                <c:pt idx="0">
                  <c:v>1059.4000000000001</c:v>
                </c:pt>
                <c:pt idx="1">
                  <c:v>0</c:v>
                </c:pt>
                <c:pt idx="2">
                  <c:v>668.4</c:v>
                </c:pt>
                <c:pt idx="3">
                  <c:v>5.8</c:v>
                </c:pt>
                <c:pt idx="4">
                  <c:v>541.5</c:v>
                </c:pt>
                <c:pt idx="5">
                  <c:v>109.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6.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0E59-4E89-A4A2-9C0A818BB5E7}"/>
                </c:ext>
              </c:extLst>
            </c:dLbl>
            <c:dLbl>
              <c:idx val="5"/>
              <c:tx>
                <c:rich>
                  <a:bodyPr/>
                  <a:lstStyle/>
                  <a:p>
                    <a:r>
                      <a:t>1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0E59-4E89-A4A2-9C0A818BB5E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E$2:$E$7</c:f>
              <c:numCache>
                <c:formatCode>General</c:formatCode>
                <c:ptCount val="6"/>
                <c:pt idx="0">
                  <c:v>12.3581</c:v>
                </c:pt>
                <c:pt idx="1">
                  <c:v>0</c:v>
                </c:pt>
                <c:pt idx="2">
                  <c:v>11.0938</c:v>
                </c:pt>
                <c:pt idx="3">
                  <c:v>16.807700000000001</c:v>
                </c:pt>
                <c:pt idx="4">
                  <c:v>11.6403</c:v>
                </c:pt>
                <c:pt idx="5">
                  <c:v>12.8524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D$2:$D$7</c:f>
              <c:numCache>
                <c:formatCode>General</c:formatCode>
                <c:ptCount val="6"/>
                <c:pt idx="0">
                  <c:v>1059.4000000000001</c:v>
                </c:pt>
                <c:pt idx="1">
                  <c:v>0</c:v>
                </c:pt>
                <c:pt idx="2">
                  <c:v>668.4</c:v>
                </c:pt>
                <c:pt idx="3">
                  <c:v>0</c:v>
                </c:pt>
                <c:pt idx="4">
                  <c:v>541.5</c:v>
                </c:pt>
                <c:pt idx="5">
                  <c:v>143.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8.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DE36-4841-9E6B-75D97CBE0571}"/>
                </c:ext>
              </c:extLst>
            </c:dLbl>
            <c:dLbl>
              <c:idx val="5"/>
              <c:tx>
                <c:rich>
                  <a:bodyPr/>
                  <a:lstStyle/>
                  <a:p>
                    <a:r>
                      <a:t>10.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DE36-4841-9E6B-75D97CBE057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E$2:$E$7</c:f>
              <c:numCache>
                <c:formatCode>General</c:formatCode>
                <c:ptCount val="6"/>
                <c:pt idx="0">
                  <c:v>12.3581</c:v>
                </c:pt>
                <c:pt idx="1">
                  <c:v>0</c:v>
                </c:pt>
                <c:pt idx="2">
                  <c:v>11.0938</c:v>
                </c:pt>
                <c:pt idx="3">
                  <c:v>8.8888999999999996</c:v>
                </c:pt>
                <c:pt idx="4">
                  <c:v>11.6403</c:v>
                </c:pt>
                <c:pt idx="5">
                  <c:v>10.3515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B6A7D3-3861-47D7-BAAA-5C4F4722F0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75F632-1512-41C3-8398-D3CC6ED8B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8AF939-2691-4247-853A-4FF749EA7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8269D6-1315-4820-A12D-1E6D76FC92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FCBE44-4038-4A56-B96D-67840891C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3B9908-F482-4006-A5B8-6E74BB9F2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DD5821B-8975-459E-A5DE-F8E0D0583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8B4B521-9AC1-44A6-A160-6321E9861B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59</c:v>
                </c:pt>
                <c:pt idx="1">
                  <c:v>2.3527999999999998</c:v>
                </c:pt>
                <c:pt idx="2">
                  <c:v>2.8315000000000001</c:v>
                </c:pt>
                <c:pt idx="3">
                  <c:v>3.2755999999999998</c:v>
                </c:pt>
                <c:pt idx="4">
                  <c:v>3.0144000000000002</c:v>
                </c:pt>
                <c:pt idx="5">
                  <c:v>3.2692000000000001</c:v>
                </c:pt>
                <c:pt idx="6">
                  <c:v>2.9653</c:v>
                </c:pt>
                <c:pt idx="7">
                  <c:v>2.3641999999999999</c:v>
                </c:pt>
              </c:numCache>
            </c:numRef>
          </c:xVal>
          <c:yVal>
            <c:numRef>
              <c:f>Sheet1!$B$2:$B$9</c:f>
              <c:numCache>
                <c:formatCode>General</c:formatCode>
                <c:ptCount val="8"/>
                <c:pt idx="0">
                  <c:v>0.88500000000000001</c:v>
                </c:pt>
                <c:pt idx="1">
                  <c:v>0.77700000000000002</c:v>
                </c:pt>
                <c:pt idx="2">
                  <c:v>1.0529999999999999</c:v>
                </c:pt>
                <c:pt idx="3">
                  <c:v>1.1479999999999999</c:v>
                </c:pt>
                <c:pt idx="4">
                  <c:v>1.137</c:v>
                </c:pt>
                <c:pt idx="5">
                  <c:v>0.80200000000000005</c:v>
                </c:pt>
                <c:pt idx="6">
                  <c:v>1.04</c:v>
                </c:pt>
                <c:pt idx="7">
                  <c:v>1.3220000000000001</c:v>
                </c:pt>
              </c:numCache>
            </c:numRef>
          </c:yVal>
          <c:bubbleSize>
            <c:numRef>
              <c:f>Sheet1!$C$2:$C$9</c:f>
              <c:numCache>
                <c:formatCode>General</c:formatCode>
                <c:ptCount val="8"/>
                <c:pt idx="0">
                  <c:v>263392264</c:v>
                </c:pt>
                <c:pt idx="1">
                  <c:v>39509333</c:v>
                </c:pt>
                <c:pt idx="2">
                  <c:v>34407631</c:v>
                </c:pt>
                <c:pt idx="3">
                  <c:v>32529804</c:v>
                </c:pt>
                <c:pt idx="4">
                  <c:v>30956719</c:v>
                </c:pt>
                <c:pt idx="5">
                  <c:v>30468388</c:v>
                </c:pt>
                <c:pt idx="6">
                  <c:v>22816387</c:v>
                </c:pt>
                <c:pt idx="7">
                  <c:v>15405497</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Caprice Des Dieux</c:v>
                  </c:pt>
                  <c:pt idx="4">
                    <c:v>St Moret</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D$2:$D$7</c:f>
              <c:numCache>
                <c:formatCode>General</c:formatCode>
                <c:ptCount val="6"/>
                <c:pt idx="0">
                  <c:v>1059.4000000000001</c:v>
                </c:pt>
                <c:pt idx="1">
                  <c:v>11.9</c:v>
                </c:pt>
                <c:pt idx="2">
                  <c:v>668.4</c:v>
                </c:pt>
                <c:pt idx="3">
                  <c:v>69.900000000000006</c:v>
                </c:pt>
                <c:pt idx="4">
                  <c:v>541.5</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4.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027F-425A-8F1A-E596C4DA981E}"/>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027F-425A-8F1A-E596C4DA981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E$2:$E$7</c:f>
              <c:numCache>
                <c:formatCode>General</c:formatCode>
                <c:ptCount val="6"/>
                <c:pt idx="0">
                  <c:v>12.3581</c:v>
                </c:pt>
                <c:pt idx="1">
                  <c:v>18.715699999999998</c:v>
                </c:pt>
                <c:pt idx="2">
                  <c:v>11.0938</c:v>
                </c:pt>
                <c:pt idx="3">
                  <c:v>14.7752</c:v>
                </c:pt>
                <c:pt idx="4">
                  <c:v>11.6403</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D$2:$D$7</c:f>
              <c:numCache>
                <c:formatCode>General</c:formatCode>
                <c:ptCount val="6"/>
                <c:pt idx="0">
                  <c:v>191.4</c:v>
                </c:pt>
                <c:pt idx="1">
                  <c:v>0</c:v>
                </c:pt>
                <c:pt idx="2">
                  <c:v>111.9</c:v>
                </c:pt>
                <c:pt idx="3">
                  <c:v>1.6</c:v>
                </c:pt>
                <c:pt idx="4">
                  <c:v>95.4</c:v>
                </c:pt>
                <c:pt idx="5">
                  <c:v>2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7.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3290-4F1A-B8BF-A74D8E389B5F}"/>
                </c:ext>
              </c:extLst>
            </c:dLbl>
            <c:dLbl>
              <c:idx val="5"/>
              <c:tx>
                <c:rich>
                  <a:bodyPr/>
                  <a:lstStyle/>
                  <a:p>
                    <a:r>
                      <a:t>12.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3290-4F1A-B8BF-A74D8E389B5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E$2:$E$7</c:f>
              <c:numCache>
                <c:formatCode>General</c:formatCode>
                <c:ptCount val="6"/>
                <c:pt idx="0">
                  <c:v>13.3095</c:v>
                </c:pt>
                <c:pt idx="1">
                  <c:v>0</c:v>
                </c:pt>
                <c:pt idx="2">
                  <c:v>12.0724</c:v>
                </c:pt>
                <c:pt idx="3">
                  <c:v>17.313099999999999</c:v>
                </c:pt>
                <c:pt idx="4">
                  <c:v>11.825200000000001</c:v>
                </c:pt>
                <c:pt idx="5">
                  <c:v>12.2512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D$2:$D$7</c:f>
              <c:numCache>
                <c:formatCode>General</c:formatCode>
                <c:ptCount val="6"/>
                <c:pt idx="0">
                  <c:v>191.4</c:v>
                </c:pt>
                <c:pt idx="1">
                  <c:v>0</c:v>
                </c:pt>
                <c:pt idx="2">
                  <c:v>111.9</c:v>
                </c:pt>
                <c:pt idx="3">
                  <c:v>0</c:v>
                </c:pt>
                <c:pt idx="4">
                  <c:v>95.4</c:v>
                </c:pt>
                <c:pt idx="5">
                  <c:v>3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8.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91B5-4942-9D87-0523B0B51C5A}"/>
                </c:ext>
              </c:extLst>
            </c:dLbl>
            <c:dLbl>
              <c:idx val="5"/>
              <c:tx>
                <c:rich>
                  <a:bodyPr/>
                  <a:lstStyle/>
                  <a:p>
                    <a:r>
                      <a:t>9.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1B5-4942-9D87-0523B0B51C5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E$2:$E$7</c:f>
              <c:numCache>
                <c:formatCode>General</c:formatCode>
                <c:ptCount val="6"/>
                <c:pt idx="0">
                  <c:v>13.3095</c:v>
                </c:pt>
                <c:pt idx="1">
                  <c:v>0</c:v>
                </c:pt>
                <c:pt idx="2">
                  <c:v>12.0724</c:v>
                </c:pt>
                <c:pt idx="3">
                  <c:v>8.8888999999999996</c:v>
                </c:pt>
                <c:pt idx="4">
                  <c:v>11.825200000000001</c:v>
                </c:pt>
                <c:pt idx="5">
                  <c:v>9.641400000000000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D$2:$D$7</c:f>
              <c:numCache>
                <c:formatCode>General</c:formatCode>
                <c:ptCount val="6"/>
                <c:pt idx="0">
                  <c:v>191.4</c:v>
                </c:pt>
                <c:pt idx="1">
                  <c:v>3.2</c:v>
                </c:pt>
                <c:pt idx="2">
                  <c:v>111.9</c:v>
                </c:pt>
                <c:pt idx="3">
                  <c:v>12.2</c:v>
                </c:pt>
                <c:pt idx="4">
                  <c:v>95.4</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F03D-4CEA-9CFC-4739BE924076}"/>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F03D-4CEA-9CFC-4739BE92407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E$2:$E$7</c:f>
              <c:numCache>
                <c:formatCode>General</c:formatCode>
                <c:ptCount val="6"/>
                <c:pt idx="0">
                  <c:v>13.3095</c:v>
                </c:pt>
                <c:pt idx="1">
                  <c:v>18.670000000000002</c:v>
                </c:pt>
                <c:pt idx="2">
                  <c:v>12.0724</c:v>
                </c:pt>
                <c:pt idx="3">
                  <c:v>15.297700000000001</c:v>
                </c:pt>
                <c:pt idx="4">
                  <c:v>11.825200000000001</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D$2:$D$7</c:f>
              <c:numCache>
                <c:formatCode>General</c:formatCode>
                <c:ptCount val="6"/>
                <c:pt idx="0">
                  <c:v>122.8</c:v>
                </c:pt>
                <c:pt idx="1">
                  <c:v>0</c:v>
                </c:pt>
                <c:pt idx="2">
                  <c:v>95</c:v>
                </c:pt>
                <c:pt idx="3">
                  <c:v>0.8</c:v>
                </c:pt>
                <c:pt idx="4">
                  <c:v>76.2</c:v>
                </c:pt>
                <c:pt idx="5">
                  <c:v>16.39999999999999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8036-4B5C-97A6-254A941D95E5}"/>
                </c:ext>
              </c:extLst>
            </c:dLbl>
            <c:dLbl>
              <c:idx val="5"/>
              <c:tx>
                <c:rich>
                  <a:bodyPr/>
                  <a:lstStyle/>
                  <a:p>
                    <a:r>
                      <a:t>13.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036-4B5C-97A6-254A941D95E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E$2:$E$7</c:f>
              <c:numCache>
                <c:formatCode>General</c:formatCode>
                <c:ptCount val="6"/>
                <c:pt idx="0">
                  <c:v>11.93</c:v>
                </c:pt>
                <c:pt idx="1">
                  <c:v>0</c:v>
                </c:pt>
                <c:pt idx="2">
                  <c:v>11.738200000000001</c:v>
                </c:pt>
                <c:pt idx="3">
                  <c:v>17.801400000000001</c:v>
                </c:pt>
                <c:pt idx="4">
                  <c:v>12.538</c:v>
                </c:pt>
                <c:pt idx="5">
                  <c:v>13.4525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D$2:$D$7</c:f>
              <c:numCache>
                <c:formatCode>General</c:formatCode>
                <c:ptCount val="6"/>
                <c:pt idx="0">
                  <c:v>122.8</c:v>
                </c:pt>
                <c:pt idx="1">
                  <c:v>0</c:v>
                </c:pt>
                <c:pt idx="2">
                  <c:v>95</c:v>
                </c:pt>
                <c:pt idx="3">
                  <c:v>0</c:v>
                </c:pt>
                <c:pt idx="4">
                  <c:v>76.2</c:v>
                </c:pt>
                <c:pt idx="5">
                  <c:v>22.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4079-4C1C-B524-D56815B2509B}"/>
                </c:ext>
              </c:extLst>
            </c:dLbl>
            <c:dLbl>
              <c:idx val="5"/>
              <c:tx>
                <c:rich>
                  <a:bodyPr/>
                  <a:lstStyle/>
                  <a:p>
                    <a:r>
                      <a:t>10.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4079-4C1C-B524-D56815B2509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E$2:$E$7</c:f>
              <c:numCache>
                <c:formatCode>General</c:formatCode>
                <c:ptCount val="6"/>
                <c:pt idx="0">
                  <c:v>11.93</c:v>
                </c:pt>
                <c:pt idx="1">
                  <c:v>0</c:v>
                </c:pt>
                <c:pt idx="2">
                  <c:v>11.738200000000001</c:v>
                </c:pt>
                <c:pt idx="3">
                  <c:v>0</c:v>
                </c:pt>
                <c:pt idx="4">
                  <c:v>12.538</c:v>
                </c:pt>
                <c:pt idx="5">
                  <c:v>10.875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D$2:$D$7</c:f>
              <c:numCache>
                <c:formatCode>General</c:formatCode>
                <c:ptCount val="6"/>
                <c:pt idx="0">
                  <c:v>122.8</c:v>
                </c:pt>
                <c:pt idx="1">
                  <c:v>1.8</c:v>
                </c:pt>
                <c:pt idx="2">
                  <c:v>95</c:v>
                </c:pt>
                <c:pt idx="3">
                  <c:v>14</c:v>
                </c:pt>
                <c:pt idx="4">
                  <c:v>76.2</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36D1-41DB-894F-B81E2DD04E5F}"/>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36D1-41DB-894F-B81E2DD04E5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E$2:$E$7</c:f>
              <c:numCache>
                <c:formatCode>General</c:formatCode>
                <c:ptCount val="6"/>
                <c:pt idx="0">
                  <c:v>11.93</c:v>
                </c:pt>
                <c:pt idx="1">
                  <c:v>19.544699999999999</c:v>
                </c:pt>
                <c:pt idx="2">
                  <c:v>11.738200000000001</c:v>
                </c:pt>
                <c:pt idx="3">
                  <c:v>14.9786</c:v>
                </c:pt>
                <c:pt idx="4">
                  <c:v>12.538</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Kiri</c:v>
                  </c:pt>
                  <c:pt idx="2">
                    <c:v>Total</c:v>
                  </c:pt>
                  <c:pt idx="3">
                    <c:v>Kiri</c:v>
                  </c:pt>
                </c:lvl>
                <c:lvl>
                  <c:pt idx="0">
                    <c:v>Soft Cheese</c:v>
                  </c:pt>
                  <c:pt idx="2">
                    <c:v>Aperitif</c:v>
                  </c:pt>
                </c:lvl>
              </c:multiLvlStrCache>
            </c:multiLvlStrRef>
          </c:cat>
          <c:val>
            <c:numRef>
              <c:f>Sheet1!$C$2:$C$5</c:f>
              <c:numCache>
                <c:formatCode>General</c:formatCode>
                <c:ptCount val="4"/>
                <c:pt idx="0">
                  <c:v>4439.5</c:v>
                </c:pt>
                <c:pt idx="1">
                  <c:v>115</c:v>
                </c:pt>
                <c:pt idx="2">
                  <c:v>210.6</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FCE6-4AA3-A10A-EBF833B25943}"/>
                </c:ext>
              </c:extLst>
            </c:dLbl>
            <c:dLbl>
              <c:idx val="1"/>
              <c:tx>
                <c:rich>
                  <a:bodyPr/>
                  <a:lstStyle/>
                  <a:p>
                    <a:r>
                      <a:t>13.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FCE6-4AA3-A10A-EBF833B25943}"/>
                </c:ext>
              </c:extLst>
            </c:dLbl>
            <c:dLbl>
              <c:idx val="2"/>
              <c:tx>
                <c:rich>
                  <a:bodyPr/>
                  <a:lstStyle/>
                  <a:p>
                    <a:r>
                      <a:t>19.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FCE6-4AA3-A10A-EBF833B25943}"/>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FCE6-4AA3-A10A-EBF833B2594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Kiri</c:v>
                  </c:pt>
                  <c:pt idx="2">
                    <c:v>Total</c:v>
                  </c:pt>
                  <c:pt idx="3">
                    <c:v>Kiri</c:v>
                  </c:pt>
                </c:lvl>
                <c:lvl>
                  <c:pt idx="0">
                    <c:v>Soft Cheese</c:v>
                  </c:pt>
                  <c:pt idx="2">
                    <c:v>Aperitif</c:v>
                  </c:pt>
                </c:lvl>
              </c:multiLvlStrCache>
            </c:multiLvlStrRef>
          </c:cat>
          <c:val>
            <c:numRef>
              <c:f>Sheet1!$D$2:$D$5</c:f>
              <c:numCache>
                <c:formatCode>General</c:formatCode>
                <c:ptCount val="4"/>
                <c:pt idx="0">
                  <c:v>11.194000000000001</c:v>
                </c:pt>
                <c:pt idx="1">
                  <c:v>13.007999999999999</c:v>
                </c:pt>
                <c:pt idx="2">
                  <c:v>19.468499999999999</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La Vache Qui Rit</c:v>
                  </c:pt>
                  <c:pt idx="2">
                    <c:v>Total</c:v>
                  </c:pt>
                  <c:pt idx="3">
                    <c:v>La Vache Qui Rit</c:v>
                  </c:pt>
                </c:lvl>
                <c:lvl>
                  <c:pt idx="0">
                    <c:v>Soft Cheese</c:v>
                  </c:pt>
                  <c:pt idx="2">
                    <c:v>Aperitif</c:v>
                  </c:pt>
                </c:lvl>
              </c:multiLvlStrCache>
            </c:multiLvlStrRef>
          </c:cat>
          <c:val>
            <c:numRef>
              <c:f>Sheet1!$C$2:$C$5</c:f>
              <c:numCache>
                <c:formatCode>General</c:formatCode>
                <c:ptCount val="4"/>
                <c:pt idx="0">
                  <c:v>4439.5</c:v>
                </c:pt>
                <c:pt idx="1">
                  <c:v>143.1</c:v>
                </c:pt>
                <c:pt idx="2">
                  <c:v>210.6</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C56D-4DEB-891A-D3558AFEE633}"/>
                </c:ext>
              </c:extLst>
            </c:dLbl>
            <c:dLbl>
              <c:idx val="1"/>
              <c:tx>
                <c:rich>
                  <a:bodyPr/>
                  <a:lstStyle/>
                  <a:p>
                    <a:r>
                      <a:t>10.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C56D-4DEB-891A-D3558AFEE633}"/>
                </c:ext>
              </c:extLst>
            </c:dLbl>
            <c:dLbl>
              <c:idx val="2"/>
              <c:tx>
                <c:rich>
                  <a:bodyPr/>
                  <a:lstStyle/>
                  <a:p>
                    <a:r>
                      <a:t>19.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C56D-4DEB-891A-D3558AFEE633}"/>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C56D-4DEB-891A-D3558AFEE63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La Vache Qui Rit</c:v>
                  </c:pt>
                  <c:pt idx="2">
                    <c:v>Total</c:v>
                  </c:pt>
                  <c:pt idx="3">
                    <c:v>La Vache Qui Rit</c:v>
                  </c:pt>
                </c:lvl>
                <c:lvl>
                  <c:pt idx="0">
                    <c:v>Soft Cheese</c:v>
                  </c:pt>
                  <c:pt idx="2">
                    <c:v>Aperitif</c:v>
                  </c:pt>
                </c:lvl>
              </c:multiLvlStrCache>
            </c:multiLvlStrRef>
          </c:cat>
          <c:val>
            <c:numRef>
              <c:f>Sheet1!$D$2:$D$5</c:f>
              <c:numCache>
                <c:formatCode>General</c:formatCode>
                <c:ptCount val="4"/>
                <c:pt idx="0">
                  <c:v>11.194000000000001</c:v>
                </c:pt>
                <c:pt idx="1">
                  <c:v>10.351599999999999</c:v>
                </c:pt>
                <c:pt idx="2">
                  <c:v>19.468499999999999</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oursin</c:v>
                  </c:pt>
                  <c:pt idx="2">
                    <c:v>Total</c:v>
                  </c:pt>
                  <c:pt idx="3">
                    <c:v>Boursin</c:v>
                  </c:pt>
                </c:lvl>
                <c:lvl>
                  <c:pt idx="0">
                    <c:v>Soft Cheese</c:v>
                  </c:pt>
                  <c:pt idx="2">
                    <c:v>Aperitif</c:v>
                  </c:pt>
                </c:lvl>
              </c:multiLvlStrCache>
            </c:multiLvlStrRef>
          </c:cat>
          <c:val>
            <c:numRef>
              <c:f>Sheet1!$C$2:$C$5</c:f>
              <c:numCache>
                <c:formatCode>General</c:formatCode>
                <c:ptCount val="4"/>
                <c:pt idx="0">
                  <c:v>4439.5</c:v>
                </c:pt>
                <c:pt idx="1">
                  <c:v>81.8</c:v>
                </c:pt>
                <c:pt idx="2">
                  <c:v>210.6</c:v>
                </c:pt>
                <c:pt idx="3">
                  <c:v>18.39999999999999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D674-4838-84A0-85F1CA07134F}"/>
                </c:ext>
              </c:extLst>
            </c:dLbl>
            <c:dLbl>
              <c:idx val="1"/>
              <c:tx>
                <c:rich>
                  <a:bodyPr/>
                  <a:lstStyle/>
                  <a:p>
                    <a:r>
                      <a:t>15.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D674-4838-84A0-85F1CA07134F}"/>
                </c:ext>
              </c:extLst>
            </c:dLbl>
            <c:dLbl>
              <c:idx val="2"/>
              <c:tx>
                <c:rich>
                  <a:bodyPr/>
                  <a:lstStyle/>
                  <a:p>
                    <a:r>
                      <a:t>19.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D674-4838-84A0-85F1CA07134F}"/>
                </c:ext>
              </c:extLst>
            </c:dLbl>
            <c:dLbl>
              <c:idx val="3"/>
              <c:tx>
                <c:rich>
                  <a:bodyPr/>
                  <a:lstStyle/>
                  <a:p>
                    <a:r>
                      <a:t>33.7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D674-4838-84A0-85F1CA07134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oursin</c:v>
                  </c:pt>
                  <c:pt idx="2">
                    <c:v>Total</c:v>
                  </c:pt>
                  <c:pt idx="3">
                    <c:v>Boursin</c:v>
                  </c:pt>
                </c:lvl>
                <c:lvl>
                  <c:pt idx="0">
                    <c:v>Soft Cheese</c:v>
                  </c:pt>
                  <c:pt idx="2">
                    <c:v>Aperitif</c:v>
                  </c:pt>
                </c:lvl>
              </c:multiLvlStrCache>
            </c:multiLvlStrRef>
          </c:cat>
          <c:val>
            <c:numRef>
              <c:f>Sheet1!$D$2:$D$5</c:f>
              <c:numCache>
                <c:formatCode>General</c:formatCode>
                <c:ptCount val="4"/>
                <c:pt idx="0">
                  <c:v>11.194000000000001</c:v>
                </c:pt>
                <c:pt idx="1">
                  <c:v>15.241099999999999</c:v>
                </c:pt>
                <c:pt idx="2">
                  <c:v>19.468499999999999</c:v>
                </c:pt>
                <c:pt idx="3">
                  <c:v>33.7922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2D0390A2-D702-48F0-B91A-334593E3F4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3DFEDBF-9587-4BE0-BFD6-245CAC9D4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F99A3833-D666-47AC-8EC2-0277A3FB00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D9A70457-9E86-4C9C-A50F-BF3F0D3C8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3028B28-D42D-4894-9DF8-C5FBC57D6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0EB05AB-54FE-4D07-855F-AD71A1E04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576C04F1-FFCE-487C-B527-2A17F337A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4E845913-7C04-4977-8162-C5DA7038F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7854999999999999</c:v>
                </c:pt>
                <c:pt idx="1">
                  <c:v>2.1145</c:v>
                </c:pt>
                <c:pt idx="2">
                  <c:v>3.4693000000000001</c:v>
                </c:pt>
                <c:pt idx="3">
                  <c:v>3.0528</c:v>
                </c:pt>
                <c:pt idx="4">
                  <c:v>2.6516999999999999</c:v>
                </c:pt>
                <c:pt idx="5">
                  <c:v>5.1757</c:v>
                </c:pt>
              </c:numCache>
            </c:numRef>
          </c:xVal>
          <c:yVal>
            <c:numRef>
              <c:f>Sheet1!$B$2:$B$7</c:f>
              <c:numCache>
                <c:formatCode>General</c:formatCode>
                <c:ptCount val="6"/>
                <c:pt idx="0">
                  <c:v>0.876</c:v>
                </c:pt>
                <c:pt idx="1">
                  <c:v>1.0249999999999999</c:v>
                </c:pt>
                <c:pt idx="2">
                  <c:v>1.6819999999999999</c:v>
                </c:pt>
                <c:pt idx="3">
                  <c:v>1.4810000000000001</c:v>
                </c:pt>
                <c:pt idx="4">
                  <c:v>1.2889999999999999</c:v>
                </c:pt>
                <c:pt idx="5">
                  <c:v>1.597</c:v>
                </c:pt>
              </c:numCache>
            </c:numRef>
          </c:yVal>
          <c:bubbleSize>
            <c:numRef>
              <c:f>Sheet1!$C$2:$C$7</c:f>
              <c:numCache>
                <c:formatCode>General</c:formatCode>
                <c:ptCount val="6"/>
                <c:pt idx="0">
                  <c:v>23637907</c:v>
                </c:pt>
                <c:pt idx="1">
                  <c:v>5715349</c:v>
                </c:pt>
                <c:pt idx="2">
                  <c:v>3679581</c:v>
                </c:pt>
                <c:pt idx="3">
                  <c:v>2136150</c:v>
                </c:pt>
                <c:pt idx="4">
                  <c:v>1221414</c:v>
                </c:pt>
                <c:pt idx="5">
                  <c:v>535470</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Kiri</c:v>
                  </c:pt>
                  <c:pt idx="2">
                    <c:v>Total</c:v>
                  </c:pt>
                  <c:pt idx="3">
                    <c:v>Kiri</c:v>
                  </c:pt>
                </c:lvl>
                <c:lvl>
                  <c:pt idx="0">
                    <c:v>Soft Cheese</c:v>
                  </c:pt>
                  <c:pt idx="2">
                    <c:v>Aperitif</c:v>
                  </c:pt>
                </c:lvl>
              </c:multiLvlStrCache>
            </c:multiLvlStrRef>
          </c:cat>
          <c:val>
            <c:numRef>
              <c:f>Sheet1!$C$2:$C$5</c:f>
              <c:numCache>
                <c:formatCode>General</c:formatCode>
                <c:ptCount val="4"/>
                <c:pt idx="0">
                  <c:v>754.7</c:v>
                </c:pt>
                <c:pt idx="1">
                  <c:v>22.8</c:v>
                </c:pt>
                <c:pt idx="2">
                  <c:v>38.700000000000003</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D9D-4432-9C67-20A051DC316E}"/>
                </c:ext>
              </c:extLst>
            </c:dLbl>
            <c:dLbl>
              <c:idx val="1"/>
              <c:tx>
                <c:rich>
                  <a:bodyPr/>
                  <a:lstStyle/>
                  <a:p>
                    <a:r>
                      <a:t>1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D9D-4432-9C67-20A051DC316E}"/>
                </c:ext>
              </c:extLst>
            </c:dLbl>
            <c:dLbl>
              <c:idx val="2"/>
              <c:tx>
                <c:rich>
                  <a:bodyPr/>
                  <a:lstStyle/>
                  <a:p>
                    <a:r>
                      <a:t>20.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D9D-4432-9C67-20A051DC316E}"/>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D9D-4432-9C67-20A051DC316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Kiri</c:v>
                  </c:pt>
                  <c:pt idx="2">
                    <c:v>Total</c:v>
                  </c:pt>
                  <c:pt idx="3">
                    <c:v>Kiri</c:v>
                  </c:pt>
                </c:lvl>
                <c:lvl>
                  <c:pt idx="0">
                    <c:v>Soft Cheese</c:v>
                  </c:pt>
                  <c:pt idx="2">
                    <c:v>Aperitif</c:v>
                  </c:pt>
                </c:lvl>
              </c:multiLvlStrCache>
            </c:multiLvlStrRef>
          </c:cat>
          <c:val>
            <c:numRef>
              <c:f>Sheet1!$D$2:$D$5</c:f>
              <c:numCache>
                <c:formatCode>General</c:formatCode>
                <c:ptCount val="4"/>
                <c:pt idx="0">
                  <c:v>12.0184</c:v>
                </c:pt>
                <c:pt idx="1">
                  <c:v>12.504899999999999</c:v>
                </c:pt>
                <c:pt idx="2">
                  <c:v>20.6632</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La Vache Qui Rit</c:v>
                  </c:pt>
                  <c:pt idx="2">
                    <c:v>Total</c:v>
                  </c:pt>
                  <c:pt idx="3">
                    <c:v>La Vache Qui Rit</c:v>
                  </c:pt>
                </c:lvl>
                <c:lvl>
                  <c:pt idx="0">
                    <c:v>Soft Cheese</c:v>
                  </c:pt>
                  <c:pt idx="2">
                    <c:v>Aperitif</c:v>
                  </c:pt>
                </c:lvl>
              </c:multiLvlStrCache>
            </c:multiLvlStrRef>
          </c:cat>
          <c:val>
            <c:numRef>
              <c:f>Sheet1!$C$2:$C$5</c:f>
              <c:numCache>
                <c:formatCode>General</c:formatCode>
                <c:ptCount val="4"/>
                <c:pt idx="0">
                  <c:v>754.7</c:v>
                </c:pt>
                <c:pt idx="1">
                  <c:v>30.5</c:v>
                </c:pt>
                <c:pt idx="2">
                  <c:v>38.700000000000003</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F2DD-45D9-B3B7-A6BF2BB59771}"/>
                </c:ext>
              </c:extLst>
            </c:dLbl>
            <c:dLbl>
              <c:idx val="1"/>
              <c:tx>
                <c:rich>
                  <a:bodyPr/>
                  <a:lstStyle/>
                  <a:p>
                    <a:r>
                      <a:t>9.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F2DD-45D9-B3B7-A6BF2BB59771}"/>
                </c:ext>
              </c:extLst>
            </c:dLbl>
            <c:dLbl>
              <c:idx val="2"/>
              <c:tx>
                <c:rich>
                  <a:bodyPr/>
                  <a:lstStyle/>
                  <a:p>
                    <a:r>
                      <a:t>20.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F2DD-45D9-B3B7-A6BF2BB59771}"/>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F2DD-45D9-B3B7-A6BF2BB5977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La Vache Qui Rit</c:v>
                  </c:pt>
                  <c:pt idx="2">
                    <c:v>Total</c:v>
                  </c:pt>
                  <c:pt idx="3">
                    <c:v>La Vache Qui Rit</c:v>
                  </c:pt>
                </c:lvl>
                <c:lvl>
                  <c:pt idx="0">
                    <c:v>Soft Cheese</c:v>
                  </c:pt>
                  <c:pt idx="2">
                    <c:v>Aperitif</c:v>
                  </c:pt>
                </c:lvl>
              </c:multiLvlStrCache>
            </c:multiLvlStrRef>
          </c:cat>
          <c:val>
            <c:numRef>
              <c:f>Sheet1!$D$2:$D$5</c:f>
              <c:numCache>
                <c:formatCode>General</c:formatCode>
                <c:ptCount val="4"/>
                <c:pt idx="0">
                  <c:v>12.0184</c:v>
                </c:pt>
                <c:pt idx="1">
                  <c:v>9.6412999999999993</c:v>
                </c:pt>
                <c:pt idx="2">
                  <c:v>20.6632</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oursin</c:v>
                  </c:pt>
                  <c:pt idx="2">
                    <c:v>Total</c:v>
                  </c:pt>
                  <c:pt idx="3">
                    <c:v>Boursin</c:v>
                  </c:pt>
                </c:lvl>
                <c:lvl>
                  <c:pt idx="0">
                    <c:v>Soft Cheese</c:v>
                  </c:pt>
                  <c:pt idx="2">
                    <c:v>Aperitif</c:v>
                  </c:pt>
                </c:lvl>
              </c:multiLvlStrCache>
            </c:multiLvlStrRef>
          </c:cat>
          <c:val>
            <c:numRef>
              <c:f>Sheet1!$C$2:$C$5</c:f>
              <c:numCache>
                <c:formatCode>General</c:formatCode>
                <c:ptCount val="4"/>
                <c:pt idx="0">
                  <c:v>754.7</c:v>
                </c:pt>
                <c:pt idx="1">
                  <c:v>15.4</c:v>
                </c:pt>
                <c:pt idx="2">
                  <c:v>38.700000000000003</c:v>
                </c:pt>
                <c:pt idx="3">
                  <c:v>3.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BFCB-4435-B4FB-67B90F721CE5}"/>
                </c:ext>
              </c:extLst>
            </c:dLbl>
            <c:dLbl>
              <c:idx val="1"/>
              <c:tx>
                <c:rich>
                  <a:bodyPr/>
                  <a:lstStyle/>
                  <a:p>
                    <a:r>
                      <a:t>15.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BFCB-4435-B4FB-67B90F721CE5}"/>
                </c:ext>
              </c:extLst>
            </c:dLbl>
            <c:dLbl>
              <c:idx val="2"/>
              <c:tx>
                <c:rich>
                  <a:bodyPr/>
                  <a:lstStyle/>
                  <a:p>
                    <a:r>
                      <a:t>20.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BFCB-4435-B4FB-67B90F721CE5}"/>
                </c:ext>
              </c:extLst>
            </c:dLbl>
            <c:dLbl>
              <c:idx val="3"/>
              <c:tx>
                <c:rich>
                  <a:bodyPr/>
                  <a:lstStyle/>
                  <a:p>
                    <a:r>
                      <a:t>3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BFCB-4435-B4FB-67B90F721CE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oursin</c:v>
                  </c:pt>
                  <c:pt idx="2">
                    <c:v>Total</c:v>
                  </c:pt>
                  <c:pt idx="3">
                    <c:v>Boursin</c:v>
                  </c:pt>
                </c:lvl>
                <c:lvl>
                  <c:pt idx="0">
                    <c:v>Soft Cheese</c:v>
                  </c:pt>
                  <c:pt idx="2">
                    <c:v>Aperitif</c:v>
                  </c:pt>
                </c:lvl>
              </c:multiLvlStrCache>
            </c:multiLvlStrRef>
          </c:cat>
          <c:val>
            <c:numRef>
              <c:f>Sheet1!$D$2:$D$5</c:f>
              <c:numCache>
                <c:formatCode>General</c:formatCode>
                <c:ptCount val="4"/>
                <c:pt idx="0">
                  <c:v>12.0184</c:v>
                </c:pt>
                <c:pt idx="1">
                  <c:v>15.8935</c:v>
                </c:pt>
                <c:pt idx="2">
                  <c:v>20.6632</c:v>
                </c:pt>
                <c:pt idx="3">
                  <c:v>34.7655000000000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Kiri</c:v>
                  </c:pt>
                  <c:pt idx="2">
                    <c:v>Total</c:v>
                  </c:pt>
                  <c:pt idx="3">
                    <c:v>Kiri</c:v>
                  </c:pt>
                </c:lvl>
                <c:lvl>
                  <c:pt idx="0">
                    <c:v>Soft Cheese</c:v>
                  </c:pt>
                  <c:pt idx="2">
                    <c:v>Aperitif</c:v>
                  </c:pt>
                </c:lvl>
              </c:multiLvlStrCache>
            </c:multiLvlStrRef>
          </c:cat>
          <c:val>
            <c:numRef>
              <c:f>Sheet1!$C$2:$C$5</c:f>
              <c:numCache>
                <c:formatCode>General</c:formatCode>
                <c:ptCount val="4"/>
                <c:pt idx="0">
                  <c:v>574.9</c:v>
                </c:pt>
                <c:pt idx="1">
                  <c:v>17.2</c:v>
                </c:pt>
                <c:pt idx="2">
                  <c:v>38.1</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071-49A1-AE39-19F39EEF043D}"/>
                </c:ext>
              </c:extLst>
            </c:dLbl>
            <c:dLbl>
              <c:idx val="1"/>
              <c:tx>
                <c:rich>
                  <a:bodyPr/>
                  <a:lstStyle/>
                  <a:p>
                    <a:r>
                      <a:t>13.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071-49A1-AE39-19F39EEF043D}"/>
                </c:ext>
              </c:extLst>
            </c:dLbl>
            <c:dLbl>
              <c:idx val="2"/>
              <c:tx>
                <c:rich>
                  <a:bodyPr/>
                  <a:lstStyle/>
                  <a:p>
                    <a:r>
                      <a:t>19.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071-49A1-AE39-19F39EEF043D}"/>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071-49A1-AE39-19F39EEF043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Kiri</c:v>
                  </c:pt>
                  <c:pt idx="2">
                    <c:v>Total</c:v>
                  </c:pt>
                  <c:pt idx="3">
                    <c:v>Kiri</c:v>
                  </c:pt>
                </c:lvl>
                <c:lvl>
                  <c:pt idx="0">
                    <c:v>Soft Cheese</c:v>
                  </c:pt>
                  <c:pt idx="2">
                    <c:v>Aperitif</c:v>
                  </c:pt>
                </c:lvl>
              </c:multiLvlStrCache>
            </c:multiLvlStrRef>
          </c:cat>
          <c:val>
            <c:numRef>
              <c:f>Sheet1!$D$2:$D$5</c:f>
              <c:numCache>
                <c:formatCode>General</c:formatCode>
                <c:ptCount val="4"/>
                <c:pt idx="0">
                  <c:v>11.271800000000001</c:v>
                </c:pt>
                <c:pt idx="1">
                  <c:v>13.607699999999999</c:v>
                </c:pt>
                <c:pt idx="2">
                  <c:v>19.368500000000001</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La Vache Qui Rit</c:v>
                  </c:pt>
                  <c:pt idx="2">
                    <c:v>Total</c:v>
                  </c:pt>
                  <c:pt idx="3">
                    <c:v>La Vache Qui Rit</c:v>
                  </c:pt>
                </c:lvl>
                <c:lvl>
                  <c:pt idx="0">
                    <c:v>Soft Cheese</c:v>
                  </c:pt>
                  <c:pt idx="2">
                    <c:v>Aperitif</c:v>
                  </c:pt>
                </c:lvl>
              </c:multiLvlStrCache>
            </c:multiLvlStrRef>
          </c:cat>
          <c:val>
            <c:numRef>
              <c:f>Sheet1!$C$2:$C$5</c:f>
              <c:numCache>
                <c:formatCode>General</c:formatCode>
                <c:ptCount val="4"/>
                <c:pt idx="0">
                  <c:v>574.9</c:v>
                </c:pt>
                <c:pt idx="1">
                  <c:v>22.6</c:v>
                </c:pt>
                <c:pt idx="2">
                  <c:v>38.1</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81F-4A7F-9976-BF97DEA132E3}"/>
                </c:ext>
              </c:extLst>
            </c:dLbl>
            <c:dLbl>
              <c:idx val="1"/>
              <c:tx>
                <c:rich>
                  <a:bodyPr/>
                  <a:lstStyle/>
                  <a:p>
                    <a:r>
                      <a:t>10.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81F-4A7F-9976-BF97DEA132E3}"/>
                </c:ext>
              </c:extLst>
            </c:dLbl>
            <c:dLbl>
              <c:idx val="2"/>
              <c:tx>
                <c:rich>
                  <a:bodyPr/>
                  <a:lstStyle/>
                  <a:p>
                    <a:r>
                      <a:t>19.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81F-4A7F-9976-BF97DEA132E3}"/>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81F-4A7F-9976-BF97DEA132E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La Vache Qui Rit</c:v>
                  </c:pt>
                  <c:pt idx="2">
                    <c:v>Total</c:v>
                  </c:pt>
                  <c:pt idx="3">
                    <c:v>La Vache Qui Rit</c:v>
                  </c:pt>
                </c:lvl>
                <c:lvl>
                  <c:pt idx="0">
                    <c:v>Soft Cheese</c:v>
                  </c:pt>
                  <c:pt idx="2">
                    <c:v>Aperitif</c:v>
                  </c:pt>
                </c:lvl>
              </c:multiLvlStrCache>
            </c:multiLvlStrRef>
          </c:cat>
          <c:val>
            <c:numRef>
              <c:f>Sheet1!$D$2:$D$5</c:f>
              <c:numCache>
                <c:formatCode>General</c:formatCode>
                <c:ptCount val="4"/>
                <c:pt idx="0">
                  <c:v>11.271800000000001</c:v>
                </c:pt>
                <c:pt idx="1">
                  <c:v>10.8757</c:v>
                </c:pt>
                <c:pt idx="2">
                  <c:v>19.368500000000001</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oursin</c:v>
                  </c:pt>
                  <c:pt idx="2">
                    <c:v>Total</c:v>
                  </c:pt>
                  <c:pt idx="3">
                    <c:v>Boursin</c:v>
                  </c:pt>
                </c:lvl>
                <c:lvl>
                  <c:pt idx="0">
                    <c:v>Soft Cheese</c:v>
                  </c:pt>
                  <c:pt idx="2">
                    <c:v>Aperitif</c:v>
                  </c:pt>
                </c:lvl>
              </c:multiLvlStrCache>
            </c:multiLvlStrRef>
          </c:cat>
          <c:val>
            <c:numRef>
              <c:f>Sheet1!$C$2:$C$5</c:f>
              <c:numCache>
                <c:formatCode>General</c:formatCode>
                <c:ptCount val="4"/>
                <c:pt idx="0">
                  <c:v>574.9</c:v>
                </c:pt>
                <c:pt idx="1">
                  <c:v>15.8</c:v>
                </c:pt>
                <c:pt idx="2">
                  <c:v>38.1</c:v>
                </c:pt>
                <c:pt idx="3">
                  <c:v>4.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085A-44FD-B18D-2E2C09E74BE8}"/>
                </c:ext>
              </c:extLst>
            </c:dLbl>
            <c:dLbl>
              <c:idx val="1"/>
              <c:tx>
                <c:rich>
                  <a:bodyPr/>
                  <a:lstStyle/>
                  <a:p>
                    <a:r>
                      <a:t>15.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085A-44FD-B18D-2E2C09E74BE8}"/>
                </c:ext>
              </c:extLst>
            </c:dLbl>
            <c:dLbl>
              <c:idx val="2"/>
              <c:tx>
                <c:rich>
                  <a:bodyPr/>
                  <a:lstStyle/>
                  <a:p>
                    <a:r>
                      <a:t>19.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085A-44FD-B18D-2E2C09E74BE8}"/>
                </c:ext>
              </c:extLst>
            </c:dLbl>
            <c:dLbl>
              <c:idx val="3"/>
              <c:tx>
                <c:rich>
                  <a:bodyPr/>
                  <a:lstStyle/>
                  <a:p>
                    <a:r>
                      <a:t>33.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085A-44FD-B18D-2E2C09E74BE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oursin</c:v>
                  </c:pt>
                  <c:pt idx="2">
                    <c:v>Total</c:v>
                  </c:pt>
                  <c:pt idx="3">
                    <c:v>Boursin</c:v>
                  </c:pt>
                </c:lvl>
                <c:lvl>
                  <c:pt idx="0">
                    <c:v>Soft Cheese</c:v>
                  </c:pt>
                  <c:pt idx="2">
                    <c:v>Aperitif</c:v>
                  </c:pt>
                </c:lvl>
              </c:multiLvlStrCache>
            </c:multiLvlStrRef>
          </c:cat>
          <c:val>
            <c:numRef>
              <c:f>Sheet1!$D$2:$D$5</c:f>
              <c:numCache>
                <c:formatCode>General</c:formatCode>
                <c:ptCount val="4"/>
                <c:pt idx="0">
                  <c:v>11.271800000000001</c:v>
                </c:pt>
                <c:pt idx="1">
                  <c:v>15.386799999999999</c:v>
                </c:pt>
                <c:pt idx="2">
                  <c:v>19.368500000000001</c:v>
                </c:pt>
                <c:pt idx="3">
                  <c:v>33.69980000000000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2AE9-487E-8AEE-73BE208547E3}"/>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2AE9-487E-8AEE-73BE208547E3}"/>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Classique</c:v>
                  </c:pt>
                  <c:pt idx="2">
                    <c:v>Salade</c:v>
                  </c:pt>
                  <c:pt idx="4">
                    <c:v>Chevre</c:v>
                  </c:pt>
                  <c:pt idx="6">
                    <c:v>Frais A Tartiner</c:v>
                  </c:pt>
                  <c:pt idx="8">
                    <c:v>Enfant</c:v>
                  </c:pt>
                </c:lvl>
              </c:multiLvlStrCache>
            </c:multiLvlStrRef>
          </c:cat>
          <c:val>
            <c:numRef>
              <c:f>Sheet1!$C$2:$C$11</c:f>
              <c:numCache>
                <c:formatCode>General</c:formatCode>
                <c:ptCount val="10"/>
                <c:pt idx="0">
                  <c:v>1195.8</c:v>
                </c:pt>
                <c:pt idx="1">
                  <c:v>0</c:v>
                </c:pt>
                <c:pt idx="2">
                  <c:v>1059.4000000000001</c:v>
                </c:pt>
                <c:pt idx="3">
                  <c:v>0</c:v>
                </c:pt>
                <c:pt idx="4">
                  <c:v>809.3</c:v>
                </c:pt>
                <c:pt idx="5">
                  <c:v>0</c:v>
                </c:pt>
                <c:pt idx="6">
                  <c:v>668.4</c:v>
                </c:pt>
                <c:pt idx="7">
                  <c:v>5.8</c:v>
                </c:pt>
                <c:pt idx="8">
                  <c:v>541.5</c:v>
                </c:pt>
                <c:pt idx="9">
                  <c:v>109.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8.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AE9-487E-8AEE-73BE208547E3}"/>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AE9-487E-8AEE-73BE208547E3}"/>
                </c:ext>
              </c:extLst>
            </c:dLbl>
            <c:dLbl>
              <c:idx val="2"/>
              <c:tx>
                <c:rich>
                  <a:bodyPr/>
                  <a:lstStyle/>
                  <a:p>
                    <a:r>
                      <a:t>1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AE9-487E-8AEE-73BE208547E3}"/>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AE9-487E-8AEE-73BE208547E3}"/>
                </c:ext>
              </c:extLst>
            </c:dLbl>
            <c:dLbl>
              <c:idx val="4"/>
              <c:tx>
                <c:rich>
                  <a:bodyPr/>
                  <a:lstStyle/>
                  <a:p>
                    <a:r>
                      <a:t>13.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AE9-487E-8AEE-73BE208547E3}"/>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AE9-487E-8AEE-73BE208547E3}"/>
                </c:ext>
              </c:extLst>
            </c:dLbl>
            <c:dLbl>
              <c:idx val="6"/>
              <c:tx>
                <c:rich>
                  <a:bodyPr/>
                  <a:lstStyle/>
                  <a:p>
                    <a:r>
                      <a:t>11.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AE9-487E-8AEE-73BE208547E3}"/>
                </c:ext>
              </c:extLst>
            </c:dLbl>
            <c:dLbl>
              <c:idx val="7"/>
              <c:tx>
                <c:rich>
                  <a:bodyPr/>
                  <a:lstStyle/>
                  <a:p>
                    <a:r>
                      <a:t>16.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AE9-487E-8AEE-73BE208547E3}"/>
                </c:ext>
              </c:extLst>
            </c:dLbl>
            <c:dLbl>
              <c:idx val="8"/>
              <c:tx>
                <c:rich>
                  <a:bodyPr/>
                  <a:lstStyle/>
                  <a:p>
                    <a:r>
                      <a:t>1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AE9-487E-8AEE-73BE208547E3}"/>
                </c:ext>
              </c:extLst>
            </c:dLbl>
            <c:dLbl>
              <c:idx val="9"/>
              <c:tx>
                <c:rich>
                  <a:bodyPr/>
                  <a:lstStyle/>
                  <a:p>
                    <a:r>
                      <a:t>1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AE9-487E-8AEE-73BE208547E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Classique</c:v>
                  </c:pt>
                  <c:pt idx="2">
                    <c:v>Salade</c:v>
                  </c:pt>
                  <c:pt idx="4">
                    <c:v>Chevre</c:v>
                  </c:pt>
                  <c:pt idx="6">
                    <c:v>Frais A Tartiner</c:v>
                  </c:pt>
                  <c:pt idx="8">
                    <c:v>Enfant</c:v>
                  </c:pt>
                </c:lvl>
              </c:multiLvlStrCache>
            </c:multiLvlStrRef>
          </c:cat>
          <c:val>
            <c:numRef>
              <c:f>Sheet1!$D$2:$D$11</c:f>
              <c:numCache>
                <c:formatCode>General</c:formatCode>
                <c:ptCount val="10"/>
                <c:pt idx="0">
                  <c:v>8.8196999999999992</c:v>
                </c:pt>
                <c:pt idx="1">
                  <c:v>0</c:v>
                </c:pt>
                <c:pt idx="2">
                  <c:v>12.3581</c:v>
                </c:pt>
                <c:pt idx="3">
                  <c:v>0</c:v>
                </c:pt>
                <c:pt idx="4">
                  <c:v>13.533899999999999</c:v>
                </c:pt>
                <c:pt idx="5">
                  <c:v>0</c:v>
                </c:pt>
                <c:pt idx="6">
                  <c:v>11.0938</c:v>
                </c:pt>
                <c:pt idx="7">
                  <c:v>16.807700000000001</c:v>
                </c:pt>
                <c:pt idx="8">
                  <c:v>11.6403</c:v>
                </c:pt>
                <c:pt idx="9">
                  <c:v>12.8524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23F6-4DF2-AA90-6371C3AD678F}"/>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23F6-4DF2-AA90-6371C3AD678F}"/>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Classique</c:v>
                  </c:pt>
                  <c:pt idx="2">
                    <c:v>Salade</c:v>
                  </c:pt>
                  <c:pt idx="4">
                    <c:v>Chevre</c:v>
                  </c:pt>
                  <c:pt idx="6">
                    <c:v>Frais A Tartiner</c:v>
                  </c:pt>
                  <c:pt idx="8">
                    <c:v>Enfant</c:v>
                  </c:pt>
                </c:lvl>
              </c:multiLvlStrCache>
            </c:multiLvlStrRef>
          </c:cat>
          <c:val>
            <c:numRef>
              <c:f>Sheet1!$C$2:$C$11</c:f>
              <c:numCache>
                <c:formatCode>General</c:formatCode>
                <c:ptCount val="10"/>
                <c:pt idx="0">
                  <c:v>1195.8</c:v>
                </c:pt>
                <c:pt idx="1">
                  <c:v>0</c:v>
                </c:pt>
                <c:pt idx="2">
                  <c:v>1059.4000000000001</c:v>
                </c:pt>
                <c:pt idx="3">
                  <c:v>0</c:v>
                </c:pt>
                <c:pt idx="4">
                  <c:v>809.3</c:v>
                </c:pt>
                <c:pt idx="5">
                  <c:v>0</c:v>
                </c:pt>
                <c:pt idx="6">
                  <c:v>668.4</c:v>
                </c:pt>
                <c:pt idx="7">
                  <c:v>0</c:v>
                </c:pt>
                <c:pt idx="8">
                  <c:v>541.5</c:v>
                </c:pt>
                <c:pt idx="9">
                  <c:v>143.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8.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3F6-4DF2-AA90-6371C3AD678F}"/>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3F6-4DF2-AA90-6371C3AD678F}"/>
                </c:ext>
              </c:extLst>
            </c:dLbl>
            <c:dLbl>
              <c:idx val="2"/>
              <c:tx>
                <c:rich>
                  <a:bodyPr/>
                  <a:lstStyle/>
                  <a:p>
                    <a:r>
                      <a:t>1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3F6-4DF2-AA90-6371C3AD678F}"/>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3F6-4DF2-AA90-6371C3AD678F}"/>
                </c:ext>
              </c:extLst>
            </c:dLbl>
            <c:dLbl>
              <c:idx val="4"/>
              <c:tx>
                <c:rich>
                  <a:bodyPr/>
                  <a:lstStyle/>
                  <a:p>
                    <a:r>
                      <a:t>13.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3F6-4DF2-AA90-6371C3AD678F}"/>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3F6-4DF2-AA90-6371C3AD678F}"/>
                </c:ext>
              </c:extLst>
            </c:dLbl>
            <c:dLbl>
              <c:idx val="6"/>
              <c:tx>
                <c:rich>
                  <a:bodyPr/>
                  <a:lstStyle/>
                  <a:p>
                    <a:r>
                      <a:t>11.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3F6-4DF2-AA90-6371C3AD678F}"/>
                </c:ext>
              </c:extLst>
            </c:dLbl>
            <c:dLbl>
              <c:idx val="7"/>
              <c:tx>
                <c:rich>
                  <a:bodyPr/>
                  <a:lstStyle/>
                  <a:p>
                    <a:r>
                      <a:t>8.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3F6-4DF2-AA90-6371C3AD678F}"/>
                </c:ext>
              </c:extLst>
            </c:dLbl>
            <c:dLbl>
              <c:idx val="8"/>
              <c:tx>
                <c:rich>
                  <a:bodyPr/>
                  <a:lstStyle/>
                  <a:p>
                    <a:r>
                      <a:t>1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3F6-4DF2-AA90-6371C3AD678F}"/>
                </c:ext>
              </c:extLst>
            </c:dLbl>
            <c:dLbl>
              <c:idx val="9"/>
              <c:tx>
                <c:rich>
                  <a:bodyPr/>
                  <a:lstStyle/>
                  <a:p>
                    <a:r>
                      <a:t>10.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3F6-4DF2-AA90-6371C3AD678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Classique</c:v>
                  </c:pt>
                  <c:pt idx="2">
                    <c:v>Salade</c:v>
                  </c:pt>
                  <c:pt idx="4">
                    <c:v>Chevre</c:v>
                  </c:pt>
                  <c:pt idx="6">
                    <c:v>Frais A Tartiner</c:v>
                  </c:pt>
                  <c:pt idx="8">
                    <c:v>Enfant</c:v>
                  </c:pt>
                </c:lvl>
              </c:multiLvlStrCache>
            </c:multiLvlStrRef>
          </c:cat>
          <c:val>
            <c:numRef>
              <c:f>Sheet1!$D$2:$D$11</c:f>
              <c:numCache>
                <c:formatCode>General</c:formatCode>
                <c:ptCount val="10"/>
                <c:pt idx="0">
                  <c:v>8.8196999999999992</c:v>
                </c:pt>
                <c:pt idx="1">
                  <c:v>0</c:v>
                </c:pt>
                <c:pt idx="2">
                  <c:v>12.3581</c:v>
                </c:pt>
                <c:pt idx="3">
                  <c:v>0</c:v>
                </c:pt>
                <c:pt idx="4">
                  <c:v>13.533899999999999</c:v>
                </c:pt>
                <c:pt idx="5">
                  <c:v>0</c:v>
                </c:pt>
                <c:pt idx="6">
                  <c:v>11.0938</c:v>
                </c:pt>
                <c:pt idx="7">
                  <c:v>8.8888999999999996</c:v>
                </c:pt>
                <c:pt idx="8">
                  <c:v>11.6403</c:v>
                </c:pt>
                <c:pt idx="9">
                  <c:v>10.3515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5BC8-4E60-972C-0296A6196A23}"/>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5BC8-4E60-972C-0296A6196A23}"/>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Classique</c:v>
                  </c:pt>
                  <c:pt idx="2">
                    <c:v>Salade</c:v>
                  </c:pt>
                  <c:pt idx="4">
                    <c:v>Chevre</c:v>
                  </c:pt>
                  <c:pt idx="6">
                    <c:v>Frais A Tartiner</c:v>
                  </c:pt>
                  <c:pt idx="8">
                    <c:v>Enfant</c:v>
                  </c:pt>
                </c:lvl>
              </c:multiLvlStrCache>
            </c:multiLvlStrRef>
          </c:cat>
          <c:val>
            <c:numRef>
              <c:f>Sheet1!$C$2:$C$11</c:f>
              <c:numCache>
                <c:formatCode>General</c:formatCode>
                <c:ptCount val="10"/>
                <c:pt idx="0">
                  <c:v>1195.8</c:v>
                </c:pt>
                <c:pt idx="1">
                  <c:v>0</c:v>
                </c:pt>
                <c:pt idx="2">
                  <c:v>1059.4000000000001</c:v>
                </c:pt>
                <c:pt idx="3">
                  <c:v>11.9</c:v>
                </c:pt>
                <c:pt idx="4">
                  <c:v>809.3</c:v>
                </c:pt>
                <c:pt idx="5">
                  <c:v>0</c:v>
                </c:pt>
                <c:pt idx="6">
                  <c:v>668.4</c:v>
                </c:pt>
                <c:pt idx="7">
                  <c:v>69.900000000000006</c:v>
                </c:pt>
                <c:pt idx="8">
                  <c:v>541.5</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8.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5BC8-4E60-972C-0296A6196A23}"/>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5BC8-4E60-972C-0296A6196A23}"/>
                </c:ext>
              </c:extLst>
            </c:dLbl>
            <c:dLbl>
              <c:idx val="2"/>
              <c:tx>
                <c:rich>
                  <a:bodyPr/>
                  <a:lstStyle/>
                  <a:p>
                    <a:r>
                      <a:t>1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5BC8-4E60-972C-0296A6196A23}"/>
                </c:ext>
              </c:extLst>
            </c:dLbl>
            <c:dLbl>
              <c:idx val="3"/>
              <c:tx>
                <c:rich>
                  <a:bodyPr/>
                  <a:lstStyle/>
                  <a:p>
                    <a:r>
                      <a:t>1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5BC8-4E60-972C-0296A6196A23}"/>
                </c:ext>
              </c:extLst>
            </c:dLbl>
            <c:dLbl>
              <c:idx val="4"/>
              <c:tx>
                <c:rich>
                  <a:bodyPr/>
                  <a:lstStyle/>
                  <a:p>
                    <a:r>
                      <a:t>13.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5BC8-4E60-972C-0296A6196A23}"/>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5BC8-4E60-972C-0296A6196A23}"/>
                </c:ext>
              </c:extLst>
            </c:dLbl>
            <c:dLbl>
              <c:idx val="6"/>
              <c:tx>
                <c:rich>
                  <a:bodyPr/>
                  <a:lstStyle/>
                  <a:p>
                    <a:r>
                      <a:t>11.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5BC8-4E60-972C-0296A6196A23}"/>
                </c:ext>
              </c:extLst>
            </c:dLbl>
            <c:dLbl>
              <c:idx val="7"/>
              <c:tx>
                <c:rich>
                  <a:bodyPr/>
                  <a:lstStyle/>
                  <a:p>
                    <a:r>
                      <a:t>14.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5BC8-4E60-972C-0296A6196A23}"/>
                </c:ext>
              </c:extLst>
            </c:dLbl>
            <c:dLbl>
              <c:idx val="8"/>
              <c:tx>
                <c:rich>
                  <a:bodyPr/>
                  <a:lstStyle/>
                  <a:p>
                    <a:r>
                      <a:t>1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5BC8-4E60-972C-0296A6196A23}"/>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5BC8-4E60-972C-0296A6196A2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Classique</c:v>
                  </c:pt>
                  <c:pt idx="2">
                    <c:v>Salade</c:v>
                  </c:pt>
                  <c:pt idx="4">
                    <c:v>Chevre</c:v>
                  </c:pt>
                  <c:pt idx="6">
                    <c:v>Frais A Tartiner</c:v>
                  </c:pt>
                  <c:pt idx="8">
                    <c:v>Enfant</c:v>
                  </c:pt>
                </c:lvl>
              </c:multiLvlStrCache>
            </c:multiLvlStrRef>
          </c:cat>
          <c:val>
            <c:numRef>
              <c:f>Sheet1!$D$2:$D$11</c:f>
              <c:numCache>
                <c:formatCode>General</c:formatCode>
                <c:ptCount val="10"/>
                <c:pt idx="0">
                  <c:v>8.8196999999999992</c:v>
                </c:pt>
                <c:pt idx="1">
                  <c:v>0</c:v>
                </c:pt>
                <c:pt idx="2">
                  <c:v>12.3581</c:v>
                </c:pt>
                <c:pt idx="3">
                  <c:v>18.715699999999998</c:v>
                </c:pt>
                <c:pt idx="4">
                  <c:v>13.533899999999999</c:v>
                </c:pt>
                <c:pt idx="5">
                  <c:v>0</c:v>
                </c:pt>
                <c:pt idx="6">
                  <c:v>11.0938</c:v>
                </c:pt>
                <c:pt idx="7">
                  <c:v>14.7752</c:v>
                </c:pt>
                <c:pt idx="8">
                  <c:v>11.6403</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A0E8-4F59-871E-6C02DE6A59C1}"/>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A0E8-4F59-871E-6C02DE6A59C1}"/>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Classique</c:v>
                  </c:pt>
                  <c:pt idx="2">
                    <c:v>Salade</c:v>
                  </c:pt>
                  <c:pt idx="4">
                    <c:v>Chevre</c:v>
                  </c:pt>
                  <c:pt idx="6">
                    <c:v>Frais A Tartiner</c:v>
                  </c:pt>
                  <c:pt idx="8">
                    <c:v>Enfant</c:v>
                  </c:pt>
                </c:lvl>
              </c:multiLvlStrCache>
            </c:multiLvlStrRef>
          </c:cat>
          <c:val>
            <c:numRef>
              <c:f>Sheet1!$C$2:$C$11</c:f>
              <c:numCache>
                <c:formatCode>General</c:formatCode>
                <c:ptCount val="10"/>
                <c:pt idx="0">
                  <c:v>196.4</c:v>
                </c:pt>
                <c:pt idx="1">
                  <c:v>0</c:v>
                </c:pt>
                <c:pt idx="2">
                  <c:v>191.4</c:v>
                </c:pt>
                <c:pt idx="3">
                  <c:v>0</c:v>
                </c:pt>
                <c:pt idx="4">
                  <c:v>133.69999999999999</c:v>
                </c:pt>
                <c:pt idx="5">
                  <c:v>0</c:v>
                </c:pt>
                <c:pt idx="6">
                  <c:v>111.9</c:v>
                </c:pt>
                <c:pt idx="7">
                  <c:v>1.6</c:v>
                </c:pt>
                <c:pt idx="8">
                  <c:v>95.4</c:v>
                </c:pt>
                <c:pt idx="9">
                  <c:v>2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9.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E8-4F59-871E-6C02DE6A59C1}"/>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E8-4F59-871E-6C02DE6A59C1}"/>
                </c:ext>
              </c:extLst>
            </c:dLbl>
            <c:dLbl>
              <c:idx val="2"/>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E8-4F59-871E-6C02DE6A59C1}"/>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E8-4F59-871E-6C02DE6A59C1}"/>
                </c:ext>
              </c:extLst>
            </c:dLbl>
            <c:dLbl>
              <c:idx val="4"/>
              <c:tx>
                <c:rich>
                  <a:bodyPr/>
                  <a:lstStyle/>
                  <a:p>
                    <a:r>
                      <a:t>14.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E8-4F59-871E-6C02DE6A59C1}"/>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E8-4F59-871E-6C02DE6A59C1}"/>
                </c:ext>
              </c:extLst>
            </c:dLbl>
            <c:dLbl>
              <c:idx val="6"/>
              <c:tx>
                <c:rich>
                  <a:bodyPr/>
                  <a:lstStyle/>
                  <a:p>
                    <a:r>
                      <a:t>1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E8-4F59-871E-6C02DE6A59C1}"/>
                </c:ext>
              </c:extLst>
            </c:dLbl>
            <c:dLbl>
              <c:idx val="7"/>
              <c:tx>
                <c:rich>
                  <a:bodyPr/>
                  <a:lstStyle/>
                  <a:p>
                    <a:r>
                      <a:t>17.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E8-4F59-871E-6C02DE6A59C1}"/>
                </c:ext>
              </c:extLst>
            </c:dLbl>
            <c:dLbl>
              <c:idx val="8"/>
              <c:tx>
                <c:rich>
                  <a:bodyPr/>
                  <a:lstStyle/>
                  <a:p>
                    <a:r>
                      <a:t>11.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E8-4F59-871E-6C02DE6A59C1}"/>
                </c:ext>
              </c:extLst>
            </c:dLbl>
            <c:dLbl>
              <c:idx val="9"/>
              <c:tx>
                <c:rich>
                  <a:bodyPr/>
                  <a:lstStyle/>
                  <a:p>
                    <a:r>
                      <a:t>12.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E8-4F59-871E-6C02DE6A59C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Classique</c:v>
                  </c:pt>
                  <c:pt idx="2">
                    <c:v>Salade</c:v>
                  </c:pt>
                  <c:pt idx="4">
                    <c:v>Chevre</c:v>
                  </c:pt>
                  <c:pt idx="6">
                    <c:v>Frais A Tartiner</c:v>
                  </c:pt>
                  <c:pt idx="8">
                    <c:v>Enfant</c:v>
                  </c:pt>
                </c:lvl>
              </c:multiLvlStrCache>
            </c:multiLvlStrRef>
          </c:cat>
          <c:val>
            <c:numRef>
              <c:f>Sheet1!$D$2:$D$11</c:f>
              <c:numCache>
                <c:formatCode>General</c:formatCode>
                <c:ptCount val="10"/>
                <c:pt idx="0">
                  <c:v>9.4054000000000002</c:v>
                </c:pt>
                <c:pt idx="1">
                  <c:v>0</c:v>
                </c:pt>
                <c:pt idx="2">
                  <c:v>13.3095</c:v>
                </c:pt>
                <c:pt idx="3">
                  <c:v>0</c:v>
                </c:pt>
                <c:pt idx="4">
                  <c:v>14.925700000000001</c:v>
                </c:pt>
                <c:pt idx="5">
                  <c:v>0</c:v>
                </c:pt>
                <c:pt idx="6">
                  <c:v>12.0724</c:v>
                </c:pt>
                <c:pt idx="7">
                  <c:v>17.313099999999999</c:v>
                </c:pt>
                <c:pt idx="8">
                  <c:v>11.825200000000001</c:v>
                </c:pt>
                <c:pt idx="9">
                  <c:v>12.2512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05B3697-35EA-47B8-A7DC-447340F660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CD7992-AEDA-41A7-B174-8DD7AA2A86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CF8A45-5512-4815-932D-A426B1CD2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8659C91-206C-40AA-918D-7E810EED4B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E4CA0E3-E421-4766-9E61-A650D7476C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48626E1-4B8D-4C22-B712-CDA40A90D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472DF43-7F78-420B-9D98-09452E2F90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AC1D43-6483-4BBB-BAD4-68CFA8C23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106999999999999</c:v>
                </c:pt>
                <c:pt idx="1">
                  <c:v>2.3565</c:v>
                </c:pt>
                <c:pt idx="2">
                  <c:v>2.7509000000000001</c:v>
                </c:pt>
                <c:pt idx="3">
                  <c:v>2.9500999999999999</c:v>
                </c:pt>
                <c:pt idx="4">
                  <c:v>3.3361999999999998</c:v>
                </c:pt>
                <c:pt idx="5">
                  <c:v>3.3645999999999998</c:v>
                </c:pt>
                <c:pt idx="6">
                  <c:v>3.0628000000000002</c:v>
                </c:pt>
                <c:pt idx="7">
                  <c:v>2.4135</c:v>
                </c:pt>
              </c:numCache>
            </c:numRef>
          </c:xVal>
          <c:yVal>
            <c:numRef>
              <c:f>Sheet1!$B$2:$B$9</c:f>
              <c:numCache>
                <c:formatCode>General</c:formatCode>
                <c:ptCount val="8"/>
                <c:pt idx="0">
                  <c:v>0.83699999999999997</c:v>
                </c:pt>
                <c:pt idx="1">
                  <c:v>0.83899999999999997</c:v>
                </c:pt>
                <c:pt idx="2">
                  <c:v>1.0860000000000001</c:v>
                </c:pt>
                <c:pt idx="3">
                  <c:v>1.1259999999999999</c:v>
                </c:pt>
                <c:pt idx="4">
                  <c:v>1.2210000000000001</c:v>
                </c:pt>
                <c:pt idx="5">
                  <c:v>0.96499999999999997</c:v>
                </c:pt>
                <c:pt idx="6">
                  <c:v>1.2070000000000001</c:v>
                </c:pt>
                <c:pt idx="7">
                  <c:v>1.365</c:v>
                </c:pt>
              </c:numCache>
            </c:numRef>
          </c:yVal>
          <c:bubbleSize>
            <c:numRef>
              <c:f>Sheet1!$C$2:$C$9</c:f>
              <c:numCache>
                <c:formatCode>General</c:formatCode>
                <c:ptCount val="8"/>
                <c:pt idx="0">
                  <c:v>189926117</c:v>
                </c:pt>
                <c:pt idx="1">
                  <c:v>39277810</c:v>
                </c:pt>
                <c:pt idx="2">
                  <c:v>33117229</c:v>
                </c:pt>
                <c:pt idx="3">
                  <c:v>30253337</c:v>
                </c:pt>
                <c:pt idx="4">
                  <c:v>29411346</c:v>
                </c:pt>
                <c:pt idx="5">
                  <c:v>22557022</c:v>
                </c:pt>
                <c:pt idx="6">
                  <c:v>17199711</c:v>
                </c:pt>
                <c:pt idx="7">
                  <c:v>15801842</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5469-4178-9153-DF5E9A853CD4}"/>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5469-4178-9153-DF5E9A853CD4}"/>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Classique</c:v>
                  </c:pt>
                  <c:pt idx="2">
                    <c:v>Salade</c:v>
                  </c:pt>
                  <c:pt idx="4">
                    <c:v>Chevre</c:v>
                  </c:pt>
                  <c:pt idx="6">
                    <c:v>Frais A Tartiner</c:v>
                  </c:pt>
                  <c:pt idx="8">
                    <c:v>Enfant</c:v>
                  </c:pt>
                </c:lvl>
              </c:multiLvlStrCache>
            </c:multiLvlStrRef>
          </c:cat>
          <c:val>
            <c:numRef>
              <c:f>Sheet1!$C$2:$C$11</c:f>
              <c:numCache>
                <c:formatCode>General</c:formatCode>
                <c:ptCount val="10"/>
                <c:pt idx="0">
                  <c:v>196.4</c:v>
                </c:pt>
                <c:pt idx="1">
                  <c:v>0</c:v>
                </c:pt>
                <c:pt idx="2">
                  <c:v>191.4</c:v>
                </c:pt>
                <c:pt idx="3">
                  <c:v>0</c:v>
                </c:pt>
                <c:pt idx="4">
                  <c:v>133.69999999999999</c:v>
                </c:pt>
                <c:pt idx="5">
                  <c:v>0</c:v>
                </c:pt>
                <c:pt idx="6">
                  <c:v>111.9</c:v>
                </c:pt>
                <c:pt idx="7">
                  <c:v>0</c:v>
                </c:pt>
                <c:pt idx="8">
                  <c:v>95.4</c:v>
                </c:pt>
                <c:pt idx="9">
                  <c:v>3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9.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5469-4178-9153-DF5E9A853CD4}"/>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5469-4178-9153-DF5E9A853CD4}"/>
                </c:ext>
              </c:extLst>
            </c:dLbl>
            <c:dLbl>
              <c:idx val="2"/>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5469-4178-9153-DF5E9A853CD4}"/>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5469-4178-9153-DF5E9A853CD4}"/>
                </c:ext>
              </c:extLst>
            </c:dLbl>
            <c:dLbl>
              <c:idx val="4"/>
              <c:tx>
                <c:rich>
                  <a:bodyPr/>
                  <a:lstStyle/>
                  <a:p>
                    <a:r>
                      <a:t>14.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5469-4178-9153-DF5E9A853CD4}"/>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5469-4178-9153-DF5E9A853CD4}"/>
                </c:ext>
              </c:extLst>
            </c:dLbl>
            <c:dLbl>
              <c:idx val="6"/>
              <c:tx>
                <c:rich>
                  <a:bodyPr/>
                  <a:lstStyle/>
                  <a:p>
                    <a:r>
                      <a:t>1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5469-4178-9153-DF5E9A853CD4}"/>
                </c:ext>
              </c:extLst>
            </c:dLbl>
            <c:dLbl>
              <c:idx val="7"/>
              <c:tx>
                <c:rich>
                  <a:bodyPr/>
                  <a:lstStyle/>
                  <a:p>
                    <a:r>
                      <a:t>8.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5469-4178-9153-DF5E9A853CD4}"/>
                </c:ext>
              </c:extLst>
            </c:dLbl>
            <c:dLbl>
              <c:idx val="8"/>
              <c:tx>
                <c:rich>
                  <a:bodyPr/>
                  <a:lstStyle/>
                  <a:p>
                    <a:r>
                      <a:t>11.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5469-4178-9153-DF5E9A853CD4}"/>
                </c:ext>
              </c:extLst>
            </c:dLbl>
            <c:dLbl>
              <c:idx val="9"/>
              <c:tx>
                <c:rich>
                  <a:bodyPr/>
                  <a:lstStyle/>
                  <a:p>
                    <a:r>
                      <a:t>9.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5469-4178-9153-DF5E9A853CD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Classique</c:v>
                  </c:pt>
                  <c:pt idx="2">
                    <c:v>Salade</c:v>
                  </c:pt>
                  <c:pt idx="4">
                    <c:v>Chevre</c:v>
                  </c:pt>
                  <c:pt idx="6">
                    <c:v>Frais A Tartiner</c:v>
                  </c:pt>
                  <c:pt idx="8">
                    <c:v>Enfant</c:v>
                  </c:pt>
                </c:lvl>
              </c:multiLvlStrCache>
            </c:multiLvlStrRef>
          </c:cat>
          <c:val>
            <c:numRef>
              <c:f>Sheet1!$D$2:$D$11</c:f>
              <c:numCache>
                <c:formatCode>General</c:formatCode>
                <c:ptCount val="10"/>
                <c:pt idx="0">
                  <c:v>9.4054000000000002</c:v>
                </c:pt>
                <c:pt idx="1">
                  <c:v>0</c:v>
                </c:pt>
                <c:pt idx="2">
                  <c:v>13.3095</c:v>
                </c:pt>
                <c:pt idx="3">
                  <c:v>0</c:v>
                </c:pt>
                <c:pt idx="4">
                  <c:v>14.925700000000001</c:v>
                </c:pt>
                <c:pt idx="5">
                  <c:v>0</c:v>
                </c:pt>
                <c:pt idx="6">
                  <c:v>12.0724</c:v>
                </c:pt>
                <c:pt idx="7">
                  <c:v>8.8888999999999996</c:v>
                </c:pt>
                <c:pt idx="8">
                  <c:v>11.825200000000001</c:v>
                </c:pt>
                <c:pt idx="9">
                  <c:v>9.641400000000000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07A5-49C9-AA62-940D3651DC09}"/>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07A5-49C9-AA62-940D3651DC0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Classique</c:v>
                  </c:pt>
                  <c:pt idx="2">
                    <c:v>Salade</c:v>
                  </c:pt>
                  <c:pt idx="4">
                    <c:v>Chevre</c:v>
                  </c:pt>
                  <c:pt idx="6">
                    <c:v>Frais A Tartiner</c:v>
                  </c:pt>
                  <c:pt idx="8">
                    <c:v>Enfant</c:v>
                  </c:pt>
                </c:lvl>
              </c:multiLvlStrCache>
            </c:multiLvlStrRef>
          </c:cat>
          <c:val>
            <c:numRef>
              <c:f>Sheet1!$C$2:$C$11</c:f>
              <c:numCache>
                <c:formatCode>General</c:formatCode>
                <c:ptCount val="10"/>
                <c:pt idx="0">
                  <c:v>196.4</c:v>
                </c:pt>
                <c:pt idx="1">
                  <c:v>0</c:v>
                </c:pt>
                <c:pt idx="2">
                  <c:v>191.4</c:v>
                </c:pt>
                <c:pt idx="3">
                  <c:v>3.2</c:v>
                </c:pt>
                <c:pt idx="4">
                  <c:v>133.69999999999999</c:v>
                </c:pt>
                <c:pt idx="5">
                  <c:v>0</c:v>
                </c:pt>
                <c:pt idx="6">
                  <c:v>111.9</c:v>
                </c:pt>
                <c:pt idx="7">
                  <c:v>12.2</c:v>
                </c:pt>
                <c:pt idx="8">
                  <c:v>95.4</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9.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7A5-49C9-AA62-940D3651DC09}"/>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7A5-49C9-AA62-940D3651DC09}"/>
                </c:ext>
              </c:extLst>
            </c:dLbl>
            <c:dLbl>
              <c:idx val="2"/>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7A5-49C9-AA62-940D3651DC09}"/>
                </c:ext>
              </c:extLst>
            </c:dLbl>
            <c:dLbl>
              <c:idx val="3"/>
              <c:tx>
                <c:rich>
                  <a:bodyPr/>
                  <a:lstStyle/>
                  <a:p>
                    <a:r>
                      <a:t>18.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7A5-49C9-AA62-940D3651DC09}"/>
                </c:ext>
              </c:extLst>
            </c:dLbl>
            <c:dLbl>
              <c:idx val="4"/>
              <c:tx>
                <c:rich>
                  <a:bodyPr/>
                  <a:lstStyle/>
                  <a:p>
                    <a:r>
                      <a:t>14.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07A5-49C9-AA62-940D3651DC0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07A5-49C9-AA62-940D3651DC09}"/>
                </c:ext>
              </c:extLst>
            </c:dLbl>
            <c:dLbl>
              <c:idx val="6"/>
              <c:tx>
                <c:rich>
                  <a:bodyPr/>
                  <a:lstStyle/>
                  <a:p>
                    <a:r>
                      <a:t>1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07A5-49C9-AA62-940D3651DC09}"/>
                </c:ext>
              </c:extLst>
            </c:dLbl>
            <c:dLbl>
              <c:idx val="7"/>
              <c:tx>
                <c:rich>
                  <a:bodyPr/>
                  <a:lstStyle/>
                  <a:p>
                    <a:r>
                      <a:t>1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07A5-49C9-AA62-940D3651DC09}"/>
                </c:ext>
              </c:extLst>
            </c:dLbl>
            <c:dLbl>
              <c:idx val="8"/>
              <c:tx>
                <c:rich>
                  <a:bodyPr/>
                  <a:lstStyle/>
                  <a:p>
                    <a:r>
                      <a:t>11.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07A5-49C9-AA62-940D3651DC09}"/>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07A5-49C9-AA62-940D3651DC0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Classique</c:v>
                  </c:pt>
                  <c:pt idx="2">
                    <c:v>Salade</c:v>
                  </c:pt>
                  <c:pt idx="4">
                    <c:v>Chevre</c:v>
                  </c:pt>
                  <c:pt idx="6">
                    <c:v>Frais A Tartiner</c:v>
                  </c:pt>
                  <c:pt idx="8">
                    <c:v>Enfant</c:v>
                  </c:pt>
                </c:lvl>
              </c:multiLvlStrCache>
            </c:multiLvlStrRef>
          </c:cat>
          <c:val>
            <c:numRef>
              <c:f>Sheet1!$D$2:$D$11</c:f>
              <c:numCache>
                <c:formatCode>General</c:formatCode>
                <c:ptCount val="10"/>
                <c:pt idx="0">
                  <c:v>9.4054000000000002</c:v>
                </c:pt>
                <c:pt idx="1">
                  <c:v>0</c:v>
                </c:pt>
                <c:pt idx="2">
                  <c:v>13.3095</c:v>
                </c:pt>
                <c:pt idx="3">
                  <c:v>18.670000000000002</c:v>
                </c:pt>
                <c:pt idx="4">
                  <c:v>14.925700000000001</c:v>
                </c:pt>
                <c:pt idx="5">
                  <c:v>0</c:v>
                </c:pt>
                <c:pt idx="6">
                  <c:v>12.0724</c:v>
                </c:pt>
                <c:pt idx="7">
                  <c:v>15.297700000000001</c:v>
                </c:pt>
                <c:pt idx="8">
                  <c:v>11.8252000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4480-4D53-9CFA-F94AA473BA88}"/>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4480-4D53-9CFA-F94AA473BA88}"/>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Classique</c:v>
                  </c:pt>
                  <c:pt idx="2">
                    <c:v>Salade</c:v>
                  </c:pt>
                  <c:pt idx="4">
                    <c:v>Chevre</c:v>
                  </c:pt>
                  <c:pt idx="6">
                    <c:v>Frais A Tartiner</c:v>
                  </c:pt>
                  <c:pt idx="8">
                    <c:v>Enfant</c:v>
                  </c:pt>
                </c:lvl>
              </c:multiLvlStrCache>
            </c:multiLvlStrRef>
          </c:cat>
          <c:val>
            <c:numRef>
              <c:f>Sheet1!$C$2:$C$11</c:f>
              <c:numCache>
                <c:formatCode>General</c:formatCode>
                <c:ptCount val="10"/>
                <c:pt idx="0">
                  <c:v>160.9</c:v>
                </c:pt>
                <c:pt idx="1">
                  <c:v>0</c:v>
                </c:pt>
                <c:pt idx="2">
                  <c:v>122.8</c:v>
                </c:pt>
                <c:pt idx="3">
                  <c:v>0</c:v>
                </c:pt>
                <c:pt idx="4">
                  <c:v>99</c:v>
                </c:pt>
                <c:pt idx="5">
                  <c:v>0</c:v>
                </c:pt>
                <c:pt idx="6">
                  <c:v>95</c:v>
                </c:pt>
                <c:pt idx="7">
                  <c:v>0.8</c:v>
                </c:pt>
                <c:pt idx="8">
                  <c:v>76.2</c:v>
                </c:pt>
                <c:pt idx="9">
                  <c:v>16.39999999999999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9.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480-4D53-9CFA-F94AA473BA88}"/>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480-4D53-9CFA-F94AA473BA88}"/>
                </c:ext>
              </c:extLst>
            </c:dLbl>
            <c:dLbl>
              <c:idx val="2"/>
              <c:tx>
                <c:rich>
                  <a:bodyPr/>
                  <a:lstStyle/>
                  <a:p>
                    <a:r>
                      <a:t>1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480-4D53-9CFA-F94AA473BA88}"/>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480-4D53-9CFA-F94AA473BA88}"/>
                </c:ext>
              </c:extLst>
            </c:dLbl>
            <c:dLbl>
              <c:idx val="4"/>
              <c:tx>
                <c:rich>
                  <a:bodyPr/>
                  <a:lstStyle/>
                  <a:p>
                    <a:r>
                      <a:t>12.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4480-4D53-9CFA-F94AA473BA88}"/>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4480-4D53-9CFA-F94AA473BA88}"/>
                </c:ext>
              </c:extLst>
            </c:dLbl>
            <c:dLbl>
              <c:idx val="6"/>
              <c:tx>
                <c:rich>
                  <a:bodyPr/>
                  <a:lstStyle/>
                  <a:p>
                    <a:r>
                      <a:t>1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4480-4D53-9CFA-F94AA473BA88}"/>
                </c:ext>
              </c:extLst>
            </c:dLbl>
            <c:dLbl>
              <c:idx val="7"/>
              <c:tx>
                <c:rich>
                  <a:bodyPr/>
                  <a:lstStyle/>
                  <a:p>
                    <a:r>
                      <a:t>1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4480-4D53-9CFA-F94AA473BA88}"/>
                </c:ext>
              </c:extLst>
            </c:dLbl>
            <c:dLbl>
              <c:idx val="8"/>
              <c:tx>
                <c:rich>
                  <a:bodyPr/>
                  <a:lstStyle/>
                  <a:p>
                    <a:r>
                      <a:t>1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4480-4D53-9CFA-F94AA473BA88}"/>
                </c:ext>
              </c:extLst>
            </c:dLbl>
            <c:dLbl>
              <c:idx val="9"/>
              <c:tx>
                <c:rich>
                  <a:bodyPr/>
                  <a:lstStyle/>
                  <a:p>
                    <a:r>
                      <a:t>13.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4480-4D53-9CFA-F94AA473BA8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Classique</c:v>
                  </c:pt>
                  <c:pt idx="2">
                    <c:v>Salade</c:v>
                  </c:pt>
                  <c:pt idx="4">
                    <c:v>Chevre</c:v>
                  </c:pt>
                  <c:pt idx="6">
                    <c:v>Frais A Tartiner</c:v>
                  </c:pt>
                  <c:pt idx="8">
                    <c:v>Enfant</c:v>
                  </c:pt>
                </c:lvl>
              </c:multiLvlStrCache>
            </c:multiLvlStrRef>
          </c:cat>
          <c:val>
            <c:numRef>
              <c:f>Sheet1!$D$2:$D$11</c:f>
              <c:numCache>
                <c:formatCode>General</c:formatCode>
                <c:ptCount val="10"/>
                <c:pt idx="0">
                  <c:v>9.0599000000000007</c:v>
                </c:pt>
                <c:pt idx="1">
                  <c:v>0</c:v>
                </c:pt>
                <c:pt idx="2">
                  <c:v>11.93</c:v>
                </c:pt>
                <c:pt idx="3">
                  <c:v>0</c:v>
                </c:pt>
                <c:pt idx="4">
                  <c:v>12.8939</c:v>
                </c:pt>
                <c:pt idx="5">
                  <c:v>0</c:v>
                </c:pt>
                <c:pt idx="6">
                  <c:v>11.738200000000001</c:v>
                </c:pt>
                <c:pt idx="7">
                  <c:v>17.801400000000001</c:v>
                </c:pt>
                <c:pt idx="8">
                  <c:v>12.538</c:v>
                </c:pt>
                <c:pt idx="9">
                  <c:v>13.4525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F3D5-4020-BEDB-10CCF1FB0DD9}"/>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F3D5-4020-BEDB-10CCF1FB0DD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Classique</c:v>
                  </c:pt>
                  <c:pt idx="2">
                    <c:v>Salade</c:v>
                  </c:pt>
                  <c:pt idx="4">
                    <c:v>Chevre</c:v>
                  </c:pt>
                  <c:pt idx="6">
                    <c:v>Frais A Tartiner</c:v>
                  </c:pt>
                  <c:pt idx="8">
                    <c:v>Enfant</c:v>
                  </c:pt>
                </c:lvl>
              </c:multiLvlStrCache>
            </c:multiLvlStrRef>
          </c:cat>
          <c:val>
            <c:numRef>
              <c:f>Sheet1!$C$2:$C$11</c:f>
              <c:numCache>
                <c:formatCode>General</c:formatCode>
                <c:ptCount val="10"/>
                <c:pt idx="0">
                  <c:v>160.9</c:v>
                </c:pt>
                <c:pt idx="1">
                  <c:v>0</c:v>
                </c:pt>
                <c:pt idx="2">
                  <c:v>122.8</c:v>
                </c:pt>
                <c:pt idx="3">
                  <c:v>0</c:v>
                </c:pt>
                <c:pt idx="4">
                  <c:v>99</c:v>
                </c:pt>
                <c:pt idx="5">
                  <c:v>0</c:v>
                </c:pt>
                <c:pt idx="6">
                  <c:v>95</c:v>
                </c:pt>
                <c:pt idx="7">
                  <c:v>0</c:v>
                </c:pt>
                <c:pt idx="8">
                  <c:v>76.2</c:v>
                </c:pt>
                <c:pt idx="9">
                  <c:v>22.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9.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F3D5-4020-BEDB-10CCF1FB0DD9}"/>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F3D5-4020-BEDB-10CCF1FB0DD9}"/>
                </c:ext>
              </c:extLst>
            </c:dLbl>
            <c:dLbl>
              <c:idx val="2"/>
              <c:tx>
                <c:rich>
                  <a:bodyPr/>
                  <a:lstStyle/>
                  <a:p>
                    <a:r>
                      <a:t>1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F3D5-4020-BEDB-10CCF1FB0DD9}"/>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F3D5-4020-BEDB-10CCF1FB0DD9}"/>
                </c:ext>
              </c:extLst>
            </c:dLbl>
            <c:dLbl>
              <c:idx val="4"/>
              <c:tx>
                <c:rich>
                  <a:bodyPr/>
                  <a:lstStyle/>
                  <a:p>
                    <a:r>
                      <a:t>12.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F3D5-4020-BEDB-10CCF1FB0DD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F3D5-4020-BEDB-10CCF1FB0DD9}"/>
                </c:ext>
              </c:extLst>
            </c:dLbl>
            <c:dLbl>
              <c:idx val="6"/>
              <c:tx>
                <c:rich>
                  <a:bodyPr/>
                  <a:lstStyle/>
                  <a:p>
                    <a:r>
                      <a:t>1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F3D5-4020-BEDB-10CCF1FB0DD9}"/>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F3D5-4020-BEDB-10CCF1FB0DD9}"/>
                </c:ext>
              </c:extLst>
            </c:dLbl>
            <c:dLbl>
              <c:idx val="8"/>
              <c:tx>
                <c:rich>
                  <a:bodyPr/>
                  <a:lstStyle/>
                  <a:p>
                    <a:r>
                      <a:t>1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F3D5-4020-BEDB-10CCF1FB0DD9}"/>
                </c:ext>
              </c:extLst>
            </c:dLbl>
            <c:dLbl>
              <c:idx val="9"/>
              <c:tx>
                <c:rich>
                  <a:bodyPr/>
                  <a:lstStyle/>
                  <a:p>
                    <a:r>
                      <a:t>10.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F3D5-4020-BEDB-10CCF1FB0DD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Classique</c:v>
                  </c:pt>
                  <c:pt idx="2">
                    <c:v>Salade</c:v>
                  </c:pt>
                  <c:pt idx="4">
                    <c:v>Chevre</c:v>
                  </c:pt>
                  <c:pt idx="6">
                    <c:v>Frais A Tartiner</c:v>
                  </c:pt>
                  <c:pt idx="8">
                    <c:v>Enfant</c:v>
                  </c:pt>
                </c:lvl>
              </c:multiLvlStrCache>
            </c:multiLvlStrRef>
          </c:cat>
          <c:val>
            <c:numRef>
              <c:f>Sheet1!$D$2:$D$11</c:f>
              <c:numCache>
                <c:formatCode>General</c:formatCode>
                <c:ptCount val="10"/>
                <c:pt idx="0">
                  <c:v>9.0599000000000007</c:v>
                </c:pt>
                <c:pt idx="1">
                  <c:v>0</c:v>
                </c:pt>
                <c:pt idx="2">
                  <c:v>11.93</c:v>
                </c:pt>
                <c:pt idx="3">
                  <c:v>0</c:v>
                </c:pt>
                <c:pt idx="4">
                  <c:v>12.8939</c:v>
                </c:pt>
                <c:pt idx="5">
                  <c:v>0</c:v>
                </c:pt>
                <c:pt idx="6">
                  <c:v>11.738200000000001</c:v>
                </c:pt>
                <c:pt idx="7">
                  <c:v>0</c:v>
                </c:pt>
                <c:pt idx="8">
                  <c:v>12.538</c:v>
                </c:pt>
                <c:pt idx="9">
                  <c:v>10.875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2BB7-42C2-8E91-8A5D87613F11}"/>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2BB7-42C2-8E91-8A5D87613F11}"/>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Classique</c:v>
                  </c:pt>
                  <c:pt idx="2">
                    <c:v>Salade</c:v>
                  </c:pt>
                  <c:pt idx="4">
                    <c:v>Chevre</c:v>
                  </c:pt>
                  <c:pt idx="6">
                    <c:v>Frais A Tartiner</c:v>
                  </c:pt>
                  <c:pt idx="8">
                    <c:v>Enfant</c:v>
                  </c:pt>
                </c:lvl>
              </c:multiLvlStrCache>
            </c:multiLvlStrRef>
          </c:cat>
          <c:val>
            <c:numRef>
              <c:f>Sheet1!$C$2:$C$11</c:f>
              <c:numCache>
                <c:formatCode>General</c:formatCode>
                <c:ptCount val="10"/>
                <c:pt idx="0">
                  <c:v>160.9</c:v>
                </c:pt>
                <c:pt idx="1">
                  <c:v>0</c:v>
                </c:pt>
                <c:pt idx="2">
                  <c:v>122.8</c:v>
                </c:pt>
                <c:pt idx="3">
                  <c:v>1.8</c:v>
                </c:pt>
                <c:pt idx="4">
                  <c:v>99</c:v>
                </c:pt>
                <c:pt idx="5">
                  <c:v>0</c:v>
                </c:pt>
                <c:pt idx="6">
                  <c:v>95</c:v>
                </c:pt>
                <c:pt idx="7">
                  <c:v>14</c:v>
                </c:pt>
                <c:pt idx="8">
                  <c:v>76.2</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9.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BB7-42C2-8E91-8A5D87613F11}"/>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BB7-42C2-8E91-8A5D87613F11}"/>
                </c:ext>
              </c:extLst>
            </c:dLbl>
            <c:dLbl>
              <c:idx val="2"/>
              <c:tx>
                <c:rich>
                  <a:bodyPr/>
                  <a:lstStyle/>
                  <a:p>
                    <a:r>
                      <a:t>1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BB7-42C2-8E91-8A5D87613F11}"/>
                </c:ext>
              </c:extLst>
            </c:dLbl>
            <c:dLbl>
              <c:idx val="3"/>
              <c:tx>
                <c:rich>
                  <a:bodyPr/>
                  <a:lstStyle/>
                  <a:p>
                    <a:r>
                      <a:t>1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BB7-42C2-8E91-8A5D87613F11}"/>
                </c:ext>
              </c:extLst>
            </c:dLbl>
            <c:dLbl>
              <c:idx val="4"/>
              <c:tx>
                <c:rich>
                  <a:bodyPr/>
                  <a:lstStyle/>
                  <a:p>
                    <a:r>
                      <a:t>12.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BB7-42C2-8E91-8A5D87613F11}"/>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BB7-42C2-8E91-8A5D87613F11}"/>
                </c:ext>
              </c:extLst>
            </c:dLbl>
            <c:dLbl>
              <c:idx val="6"/>
              <c:tx>
                <c:rich>
                  <a:bodyPr/>
                  <a:lstStyle/>
                  <a:p>
                    <a:r>
                      <a:t>1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BB7-42C2-8E91-8A5D87613F11}"/>
                </c:ext>
              </c:extLst>
            </c:dLbl>
            <c:dLbl>
              <c:idx val="7"/>
              <c:tx>
                <c:rich>
                  <a:bodyPr/>
                  <a:lstStyle/>
                  <a:p>
                    <a:r>
                      <a:t>1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BB7-42C2-8E91-8A5D87613F11}"/>
                </c:ext>
              </c:extLst>
            </c:dLbl>
            <c:dLbl>
              <c:idx val="8"/>
              <c:tx>
                <c:rich>
                  <a:bodyPr/>
                  <a:lstStyle/>
                  <a:p>
                    <a:r>
                      <a:t>1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BB7-42C2-8E91-8A5D87613F11}"/>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BB7-42C2-8E91-8A5D87613F1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Classique</c:v>
                  </c:pt>
                  <c:pt idx="2">
                    <c:v>Salade</c:v>
                  </c:pt>
                  <c:pt idx="4">
                    <c:v>Chevre</c:v>
                  </c:pt>
                  <c:pt idx="6">
                    <c:v>Frais A Tartiner</c:v>
                  </c:pt>
                  <c:pt idx="8">
                    <c:v>Enfant</c:v>
                  </c:pt>
                </c:lvl>
              </c:multiLvlStrCache>
            </c:multiLvlStrRef>
          </c:cat>
          <c:val>
            <c:numRef>
              <c:f>Sheet1!$D$2:$D$11</c:f>
              <c:numCache>
                <c:formatCode>General</c:formatCode>
                <c:ptCount val="10"/>
                <c:pt idx="0">
                  <c:v>9.0599000000000007</c:v>
                </c:pt>
                <c:pt idx="1">
                  <c:v>0</c:v>
                </c:pt>
                <c:pt idx="2">
                  <c:v>11.93</c:v>
                </c:pt>
                <c:pt idx="3">
                  <c:v>19.544699999999999</c:v>
                </c:pt>
                <c:pt idx="4">
                  <c:v>12.8939</c:v>
                </c:pt>
                <c:pt idx="5">
                  <c:v>0</c:v>
                </c:pt>
                <c:pt idx="6">
                  <c:v>11.738200000000001</c:v>
                </c:pt>
                <c:pt idx="7">
                  <c:v>14.9786</c:v>
                </c:pt>
                <c:pt idx="8">
                  <c:v>12.538</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DD7A5BB8-333C-4723-A642-C59E5D554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2A4CF74-4FF3-49DD-9E66-88FC8B5B69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D3354794-EAEC-4D74-A08E-94ABC6803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CB228120-2A1B-4361-A040-764C23FB0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816C227D-6D3D-4B47-8939-727917362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4FB54134-A6A3-4E2E-A02C-B236569C8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58CF3313-D112-48ED-B99A-63E1B5D99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54DBFD3A-2E9E-400A-9DC8-E4090EC5C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7511000000000001</c:v>
                </c:pt>
                <c:pt idx="1">
                  <c:v>2.1533000000000002</c:v>
                </c:pt>
                <c:pt idx="2">
                  <c:v>3.3626999999999998</c:v>
                </c:pt>
                <c:pt idx="3">
                  <c:v>2.6185</c:v>
                </c:pt>
                <c:pt idx="4">
                  <c:v>2.5989</c:v>
                </c:pt>
                <c:pt idx="5">
                  <c:v>2.8252000000000002</c:v>
                </c:pt>
              </c:numCache>
            </c:numRef>
          </c:xVal>
          <c:yVal>
            <c:numRef>
              <c:f>Sheet1!$B$2:$B$7</c:f>
              <c:numCache>
                <c:formatCode>General</c:formatCode>
                <c:ptCount val="6"/>
                <c:pt idx="0">
                  <c:v>0.88700000000000001</c:v>
                </c:pt>
                <c:pt idx="1">
                  <c:v>1.1140000000000001</c:v>
                </c:pt>
                <c:pt idx="2">
                  <c:v>1.74</c:v>
                </c:pt>
                <c:pt idx="3">
                  <c:v>1.3560000000000001</c:v>
                </c:pt>
                <c:pt idx="4">
                  <c:v>1.0129999999999999</c:v>
                </c:pt>
                <c:pt idx="5">
                  <c:v>0.81599999999999995</c:v>
                </c:pt>
              </c:numCache>
            </c:numRef>
          </c:yVal>
          <c:bubbleSize>
            <c:numRef>
              <c:f>Sheet1!$C$2:$C$7</c:f>
              <c:numCache>
                <c:formatCode>General</c:formatCode>
                <c:ptCount val="6"/>
                <c:pt idx="0">
                  <c:v>23271110</c:v>
                </c:pt>
                <c:pt idx="1">
                  <c:v>4730575</c:v>
                </c:pt>
                <c:pt idx="2">
                  <c:v>4275865</c:v>
                </c:pt>
                <c:pt idx="3">
                  <c:v>2668533</c:v>
                </c:pt>
                <c:pt idx="4">
                  <c:v>2642649</c:v>
                </c:pt>
                <c:pt idx="5">
                  <c:v>473706</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St Moret</c:v>
                  </c:pt>
                  <c:pt idx="4">
                    <c:v>Private Label</c:v>
                  </c:pt>
                  <c:pt idx="5">
                    <c:v>Entremon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14/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4/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20.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21.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22.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23.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24.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5.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6.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27.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28.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30.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31.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2.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33.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34.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35.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36.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37.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38.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40.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41.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42.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43.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44.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45.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46.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47.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48.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9.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50.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51.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52.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53.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54.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ATIONAL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59516003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Total Fromag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494578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735302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814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03988"/>
            <a:ext cx="4869366" cy="71169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423547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985442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2946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52472"/>
            <a:ext cx="4869366" cy="72858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99734"/>
            <a:ext cx="4869366" cy="147584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887636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161430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0585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28230"/>
            <a:ext cx="4869366" cy="70375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597503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440886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1177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35767"/>
            <a:ext cx="4869366" cy="76682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984457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38464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4976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4274"/>
            <a:ext cx="4869366" cy="7869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81434"/>
            <a:ext cx="4869366" cy="159414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505841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380943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1629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0252"/>
            <a:ext cx="4869366" cy="7653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2760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872162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35943"/>
            <a:ext cx="4869366" cy="9359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87775"/>
            <a:ext cx="4869366" cy="6186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633926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552994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54466"/>
            <a:ext cx="4869366" cy="9628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3609"/>
            <a:ext cx="4869366" cy="6364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30827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759864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1798"/>
            <a:ext cx="4869366" cy="93403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1667"/>
            <a:ext cx="4869366" cy="61741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911934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183740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235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0962"/>
            <a:ext cx="4869366" cy="8420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7257"/>
            <a:ext cx="4869366" cy="5565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8120"/>
            <a:ext cx="4869366" cy="11274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719350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Carrefour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417045492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Total Fromag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1025690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401270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6751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85753"/>
            <a:ext cx="4869366" cy="8206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20330"/>
            <a:ext cx="4869366" cy="54247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76715"/>
            <a:ext cx="4869366" cy="109886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067618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52517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0188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21047"/>
            <a:ext cx="4869366" cy="87495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10833"/>
            <a:ext cx="4869366" cy="5783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04024"/>
            <a:ext cx="4869366" cy="117155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677362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60236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22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44508"/>
            <a:ext cx="4869366" cy="69841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60833"/>
            <a:ext cx="4869366" cy="141474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898092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517340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1574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38867"/>
            <a:ext cx="4869366" cy="73303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90702"/>
            <a:ext cx="4869366" cy="148487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810954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808238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47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46990"/>
            <a:ext cx="4869366" cy="6976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62481"/>
            <a:ext cx="4869366" cy="14130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366817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813317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101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43264"/>
            <a:ext cx="4869366" cy="6988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889239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504499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212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95612"/>
            <a:ext cx="4869366" cy="7472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240641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14144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84537"/>
            <a:ext cx="4869366" cy="9858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87120"/>
            <a:ext cx="4869366" cy="6516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527370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Total Fromag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816182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4866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74014"/>
            <a:ext cx="4869366" cy="81983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870065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Total Fromag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69656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79477"/>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98206"/>
            <a:ext cx="4869366" cy="8495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62129"/>
            <a:ext cx="4869366" cy="56154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21797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Intermarche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18718143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Total Fromag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3882242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Total Fromag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946086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6921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4393"/>
            <a:ext cx="4869366" cy="8131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17109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oft Chees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28581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27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17753"/>
            <a:ext cx="4869366" cy="805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507324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oft Chees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382336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3069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49138"/>
            <a:ext cx="4869366" cy="8327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95988"/>
            <a:ext cx="4869366" cy="5504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885103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oft Chees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553038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4764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65436"/>
            <a:ext cx="4869366" cy="7944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73304"/>
            <a:ext cx="4869366" cy="5251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848590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peritif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556679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652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87129"/>
            <a:ext cx="4869366" cy="68444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027153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peritif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97332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30064"/>
            <a:ext cx="4869366" cy="93790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83867"/>
            <a:ext cx="4869366" cy="61997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986345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peritif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181840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48127"/>
            <a:ext cx="4869366" cy="86109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876811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nfant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037976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235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0962"/>
            <a:ext cx="4869366" cy="8420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7257"/>
            <a:ext cx="4869366" cy="5565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8120"/>
            <a:ext cx="4869366" cy="11274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522649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nfant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144940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6751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85753"/>
            <a:ext cx="4869366" cy="8206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20330"/>
            <a:ext cx="4869366" cy="54247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76715"/>
            <a:ext cx="4869366" cy="109886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078876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nfant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656978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0188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21047"/>
            <a:ext cx="4869366" cy="87495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10833"/>
            <a:ext cx="4869366" cy="5783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04024"/>
            <a:ext cx="4869366" cy="117155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189675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ATIONAL | P12M</a:t>
            </a:r>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extLst>
              <p:ext uri="{D42A27DB-BD31-4B8C-83A1-F6EECF244321}">
                <p14:modId xmlns:p14="http://schemas.microsoft.com/office/powerpoint/2010/main" val="155782046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extLst>
              <p:ext uri="{D42A27DB-BD31-4B8C-83A1-F6EECF244321}">
                <p14:modId xmlns:p14="http://schemas.microsoft.com/office/powerpoint/2010/main" val="157373732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defRPr sz="1100">
                          <a:latin typeface="Nexa Book"/>
                        </a:defRPr>
                      </a:pPr>
                      <a:r>
                        <a:rPr b="1">
                          <a:solidFill>
                            <a:srgbClr val="575555"/>
                          </a:solidFill>
                        </a:rPr>
                        <a:t>Soft Cheese</a:t>
                      </a:r>
                    </a:p>
                  </a:txBody>
                  <a:tcPr anchor="ctr">
                    <a:solidFill>
                      <a:schemeClr val="bg2"/>
                    </a:solidFill>
                  </a:tcPr>
                </a:tc>
                <a:tc>
                  <a:txBody>
                    <a:bodyPr/>
                    <a:lstStyle/>
                    <a:p>
                      <a:pPr algn="ctr">
                        <a:defRPr sz="1100">
                          <a:latin typeface="Nexa Book"/>
                        </a:defRPr>
                      </a:pPr>
                      <a:r>
                        <a:rPr b="1">
                          <a:solidFill>
                            <a:srgbClr val="575555"/>
                          </a:solidFill>
                        </a:rPr>
                        <a:t>Aperitif</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6405557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Frais A Tartiner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148856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842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08489"/>
            <a:ext cx="4869366" cy="77576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4148"/>
            <a:ext cx="4869366" cy="15714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9384912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Frais A Tartiner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572226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8775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12785"/>
            <a:ext cx="4869366" cy="8071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40614"/>
            <a:ext cx="4869366" cy="163496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709249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Frais A Tartiner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956368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27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17753"/>
            <a:ext cx="4869366" cy="805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43912"/>
            <a:ext cx="4869366" cy="163166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1691836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alad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022902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101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43264"/>
            <a:ext cx="4869366" cy="6988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728005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alad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747507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212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95612"/>
            <a:ext cx="4869366" cy="7472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620365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alad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960778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84537"/>
            <a:ext cx="4869366" cy="9858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87120"/>
            <a:ext cx="4869366" cy="6516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64317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684822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Carrefou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4172507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Intermarch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6443851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2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468290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Carrefour | P12M</a:t>
            </a:r>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extLst>
              <p:ext uri="{D42A27DB-BD31-4B8C-83A1-F6EECF244321}">
                <p14:modId xmlns:p14="http://schemas.microsoft.com/office/powerpoint/2010/main" val="255753670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extLst>
              <p:ext uri="{D42A27DB-BD31-4B8C-83A1-F6EECF244321}">
                <p14:modId xmlns:p14="http://schemas.microsoft.com/office/powerpoint/2010/main" val="230352797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defRPr sz="1100">
                          <a:latin typeface="Nexa Book"/>
                        </a:defRPr>
                      </a:pPr>
                      <a:r>
                        <a:rPr b="1">
                          <a:solidFill>
                            <a:srgbClr val="575555"/>
                          </a:solidFill>
                        </a:rPr>
                        <a:t>Soft Cheese</a:t>
                      </a:r>
                    </a:p>
                  </a:txBody>
                  <a:tcPr anchor="ctr">
                    <a:solidFill>
                      <a:schemeClr val="bg2"/>
                    </a:solidFill>
                  </a:tcPr>
                </a:tc>
                <a:tc>
                  <a:txBody>
                    <a:bodyPr/>
                    <a:lstStyle/>
                    <a:p>
                      <a:pPr algn="ctr">
                        <a:defRPr sz="1100">
                          <a:latin typeface="Nexa Book"/>
                        </a:defRPr>
                      </a:pPr>
                      <a:r>
                        <a:rPr b="1">
                          <a:solidFill>
                            <a:srgbClr val="575555"/>
                          </a:solidFill>
                        </a:rPr>
                        <a:t>Aperitif</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4454381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Carrefou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2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984893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Intermarch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2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6589651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Total Fromag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5610789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Total Fromage | Carrefou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1065170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Total Fromage | Intermarch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ntremo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0867164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Total Fromag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2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6607715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Total Fromage | Carrefou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2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8181473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Total Fromage | Intermarch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2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7520561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el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8069083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el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1509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Intermarche | P12M</a:t>
            </a:r>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extLst>
              <p:ext uri="{D42A27DB-BD31-4B8C-83A1-F6EECF244321}">
                <p14:modId xmlns:p14="http://schemas.microsoft.com/office/powerpoint/2010/main" val="237481393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extLst>
              <p:ext uri="{D42A27DB-BD31-4B8C-83A1-F6EECF244321}">
                <p14:modId xmlns:p14="http://schemas.microsoft.com/office/powerpoint/2010/main" val="727472579"/>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defRPr sz="1100">
                          <a:latin typeface="Nexa Book"/>
                        </a:defRPr>
                      </a:pPr>
                      <a:r>
                        <a:rPr b="1">
                          <a:solidFill>
                            <a:srgbClr val="575555"/>
                          </a:solidFill>
                        </a:rPr>
                        <a:t>Soft Cheese</a:t>
                      </a:r>
                    </a:p>
                  </a:txBody>
                  <a:tcPr anchor="ctr">
                    <a:solidFill>
                      <a:schemeClr val="bg2"/>
                    </a:solidFill>
                  </a:tcPr>
                </a:tc>
                <a:tc>
                  <a:txBody>
                    <a:bodyPr/>
                    <a:lstStyle/>
                    <a:p>
                      <a:pPr algn="ctr">
                        <a:defRPr sz="1100">
                          <a:latin typeface="Nexa Book"/>
                        </a:defRPr>
                      </a:pPr>
                      <a:r>
                        <a:rPr b="1">
                          <a:solidFill>
                            <a:srgbClr val="575555"/>
                          </a:solidFill>
                        </a:rPr>
                        <a:t>Aperitif</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1814870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el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5392457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Kiri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268427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La Vache Qui Rit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4229476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oursin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2190197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Kiri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0236408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La Vache Qui Rit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569998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oursin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7980899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Kiri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4042127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La Vache Qui Rit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1517594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oursin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92549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62662074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36009290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88245512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Enfant</a:t>
                      </a:r>
                    </a:p>
                  </a:txBody>
                  <a:tcPr anchor="ctr">
                    <a:solidFill>
                      <a:schemeClr val="bg2"/>
                    </a:solidFill>
                  </a:tcPr>
                </a:tc>
                <a:tc>
                  <a:txBody>
                    <a:bodyPr/>
                    <a:lstStyle/>
                    <a:p>
                      <a:pPr algn="ctr">
                        <a:defRPr sz="1100">
                          <a:latin typeface="Nexa Book"/>
                        </a:defRPr>
                      </a:pPr>
                      <a:r>
                        <a:rPr b="1">
                          <a:solidFill>
                            <a:srgbClr val="575555"/>
                          </a:solidFill>
                        </a:rPr>
                        <a:t>Frais A Tartiner</a:t>
                      </a:r>
                    </a:p>
                  </a:txBody>
                  <a:tcPr anchor="ctr">
                    <a:solidFill>
                      <a:schemeClr val="bg2"/>
                    </a:solidFill>
                  </a:tcPr>
                </a:tc>
                <a:tc>
                  <a:txBody>
                    <a:bodyPr/>
                    <a:lstStyle/>
                    <a:p>
                      <a:pPr algn="ctr">
                        <a:defRPr sz="1100">
                          <a:latin typeface="Nexa Book"/>
                        </a:defRPr>
                      </a:pPr>
                      <a:r>
                        <a:rPr b="1">
                          <a:solidFill>
                            <a:srgbClr val="575555"/>
                          </a:solidFill>
                        </a:rPr>
                        <a:t>Salad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84108982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Kiri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4380686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La Vache Qui Rit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8119310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Boursin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1727796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Kiri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9498121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La Vache Qui Rit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3313794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Boursin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854440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Kiri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2080209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La Vache Qui Rit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5113425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Boursin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4043434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Kiri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043169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rrefour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9858982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70532780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99822450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Enfant</a:t>
                      </a:r>
                    </a:p>
                  </a:txBody>
                  <a:tcPr anchor="ctr">
                    <a:solidFill>
                      <a:schemeClr val="bg2"/>
                    </a:solidFill>
                  </a:tcPr>
                </a:tc>
                <a:tc>
                  <a:txBody>
                    <a:bodyPr/>
                    <a:lstStyle/>
                    <a:p>
                      <a:pPr algn="ctr">
                        <a:defRPr sz="1100">
                          <a:latin typeface="Nexa Book"/>
                        </a:defRPr>
                      </a:pPr>
                      <a:r>
                        <a:rPr b="1">
                          <a:solidFill>
                            <a:srgbClr val="575555"/>
                          </a:solidFill>
                        </a:rPr>
                        <a:t>Frais A Tartiner</a:t>
                      </a:r>
                    </a:p>
                  </a:txBody>
                  <a:tcPr anchor="ctr">
                    <a:solidFill>
                      <a:schemeClr val="bg2"/>
                    </a:solidFill>
                  </a:tcPr>
                </a:tc>
                <a:tc>
                  <a:txBody>
                    <a:bodyPr/>
                    <a:lstStyle/>
                    <a:p>
                      <a:pPr algn="ctr">
                        <a:defRPr sz="1100">
                          <a:latin typeface="Nexa Book"/>
                        </a:defRPr>
                      </a:pPr>
                      <a:r>
                        <a:rPr b="1">
                          <a:solidFill>
                            <a:srgbClr val="575555"/>
                          </a:solidFill>
                        </a:rPr>
                        <a:t>Salad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71647288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La Vache Qui Rit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5291013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Boursin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3991767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Kiri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7410976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La Vache Qui Rit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193579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Boursin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9545104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Kiri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1958255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La Vache Qui Rit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1936578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Boursin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446881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Intermarche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48448626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05025676"/>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66655751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Enfant</a:t>
                      </a:r>
                    </a:p>
                  </a:txBody>
                  <a:tcPr anchor="ctr">
                    <a:solidFill>
                      <a:schemeClr val="bg2"/>
                    </a:solidFill>
                  </a:tcPr>
                </a:tc>
                <a:tc>
                  <a:txBody>
                    <a:bodyPr/>
                    <a:lstStyle/>
                    <a:p>
                      <a:pPr algn="ctr">
                        <a:defRPr sz="1100">
                          <a:latin typeface="Nexa Book"/>
                        </a:defRPr>
                      </a:pPr>
                      <a:r>
                        <a:rPr b="1">
                          <a:solidFill>
                            <a:srgbClr val="575555"/>
                          </a:solidFill>
                        </a:rPr>
                        <a:t>Frais A Tartiner</a:t>
                      </a:r>
                    </a:p>
                  </a:txBody>
                  <a:tcPr anchor="ctr">
                    <a:solidFill>
                      <a:schemeClr val="bg2"/>
                    </a:solidFill>
                  </a:tcPr>
                </a:tc>
                <a:tc>
                  <a:txBody>
                    <a:bodyPr/>
                    <a:lstStyle/>
                    <a:p>
                      <a:pPr algn="ctr">
                        <a:defRPr sz="1100">
                          <a:latin typeface="Nexa Book"/>
                        </a:defRPr>
                      </a:pPr>
                      <a:r>
                        <a:rPr b="1">
                          <a:solidFill>
                            <a:srgbClr val="575555"/>
                          </a:solidFill>
                        </a:rPr>
                        <a:t>Salad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1324337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2</TotalTime>
  <Words>8513</Words>
  <Application>Microsoft Office PowerPoint</Application>
  <PresentationFormat>On-screen Show (16:9)</PresentationFormat>
  <Paragraphs>2416</Paragraphs>
  <Slides>87</Slides>
  <Notes>4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7</vt:i4>
      </vt:variant>
    </vt:vector>
  </HeadingPairs>
  <TitlesOfParts>
    <vt:vector size="97"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6</cp:revision>
  <dcterms:created xsi:type="dcterms:W3CDTF">2024-07-05T14:56:51Z</dcterms:created>
  <dcterms:modified xsi:type="dcterms:W3CDTF">2025-09-14T09:1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